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9"/>
  </p:notesMasterIdLst>
  <p:sldIdLst>
    <p:sldId id="256" r:id="rId2"/>
    <p:sldId id="258" r:id="rId3"/>
    <p:sldId id="316" r:id="rId4"/>
    <p:sldId id="285" r:id="rId5"/>
    <p:sldId id="265" r:id="rId6"/>
    <p:sldId id="259" r:id="rId7"/>
    <p:sldId id="287" r:id="rId8"/>
    <p:sldId id="288" r:id="rId9"/>
    <p:sldId id="289" r:id="rId10"/>
    <p:sldId id="290" r:id="rId11"/>
    <p:sldId id="305" r:id="rId12"/>
    <p:sldId id="292" r:id="rId13"/>
    <p:sldId id="317" r:id="rId14"/>
    <p:sldId id="293" r:id="rId15"/>
    <p:sldId id="294" r:id="rId16"/>
    <p:sldId id="260" r:id="rId17"/>
    <p:sldId id="318" r:id="rId18"/>
    <p:sldId id="295" r:id="rId19"/>
    <p:sldId id="261" r:id="rId20"/>
    <p:sldId id="296" r:id="rId21"/>
    <p:sldId id="281" r:id="rId22"/>
    <p:sldId id="297" r:id="rId23"/>
    <p:sldId id="298" r:id="rId24"/>
    <p:sldId id="299" r:id="rId25"/>
    <p:sldId id="300" r:id="rId26"/>
    <p:sldId id="301" r:id="rId27"/>
    <p:sldId id="266" r:id="rId28"/>
    <p:sldId id="302" r:id="rId29"/>
    <p:sldId id="303" r:id="rId30"/>
    <p:sldId id="315" r:id="rId31"/>
    <p:sldId id="319" r:id="rId32"/>
    <p:sldId id="320" r:id="rId33"/>
    <p:sldId id="306" r:id="rId34"/>
    <p:sldId id="304" r:id="rId35"/>
    <p:sldId id="312" r:id="rId36"/>
    <p:sldId id="314" r:id="rId37"/>
    <p:sldId id="284" r:id="rId38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CB37101-DD21-41F0-8144-A8E207FE2E90}" v="322" dt="2019-03-12T02:22:52.20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91" d="100"/>
          <a:sy n="91" d="100"/>
        </p:scale>
        <p:origin x="972" y="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presProps" Target="presProps.xml"/><Relationship Id="rId45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oung, Andrew N" userId="2b031776-7d42-478c-8563-72e581495ec2" providerId="ADAL" clId="{9F6E82C4-5401-4D61-AE30-00B6B8AE5ABB}"/>
    <pc:docChg chg="modSld">
      <pc:chgData name="Young, Andrew N" userId="2b031776-7d42-478c-8563-72e581495ec2" providerId="ADAL" clId="{9F6E82C4-5401-4D61-AE30-00B6B8AE5ABB}" dt="2019-03-02T19:07:31.861" v="68" actId="20577"/>
      <pc:docMkLst>
        <pc:docMk/>
      </pc:docMkLst>
      <pc:sldChg chg="modSp">
        <pc:chgData name="Young, Andrew N" userId="2b031776-7d42-478c-8563-72e581495ec2" providerId="ADAL" clId="{9F6E82C4-5401-4D61-AE30-00B6B8AE5ABB}" dt="2019-03-02T18:51:56.978" v="57" actId="20577"/>
        <pc:sldMkLst>
          <pc:docMk/>
          <pc:sldMk cId="3853712243" sldId="287"/>
        </pc:sldMkLst>
        <pc:spChg chg="mod">
          <ac:chgData name="Young, Andrew N" userId="2b031776-7d42-478c-8563-72e581495ec2" providerId="ADAL" clId="{9F6E82C4-5401-4D61-AE30-00B6B8AE5ABB}" dt="2019-03-02T18:51:56.978" v="57" actId="20577"/>
          <ac:spMkLst>
            <pc:docMk/>
            <pc:sldMk cId="3853712243" sldId="287"/>
            <ac:spMk id="3" creationId="{00000000-0000-0000-0000-000000000000}"/>
          </ac:spMkLst>
        </pc:spChg>
      </pc:sldChg>
      <pc:sldChg chg="modSp">
        <pc:chgData name="Young, Andrew N" userId="2b031776-7d42-478c-8563-72e581495ec2" providerId="ADAL" clId="{9F6E82C4-5401-4D61-AE30-00B6B8AE5ABB}" dt="2019-03-02T19:07:31.861" v="68" actId="20577"/>
        <pc:sldMkLst>
          <pc:docMk/>
          <pc:sldMk cId="2682704573" sldId="300"/>
        </pc:sldMkLst>
        <pc:spChg chg="mod">
          <ac:chgData name="Young, Andrew N" userId="2b031776-7d42-478c-8563-72e581495ec2" providerId="ADAL" clId="{9F6E82C4-5401-4D61-AE30-00B6B8AE5ABB}" dt="2019-03-02T19:07:31.861" v="68" actId="20577"/>
          <ac:spMkLst>
            <pc:docMk/>
            <pc:sldMk cId="2682704573" sldId="300"/>
            <ac:spMk id="3" creationId="{00000000-0000-0000-0000-000000000000}"/>
          </ac:spMkLst>
        </pc:spChg>
      </pc:sldChg>
      <pc:sldChg chg="modSp">
        <pc:chgData name="Young, Andrew N" userId="2b031776-7d42-478c-8563-72e581495ec2" providerId="ADAL" clId="{9F6E82C4-5401-4D61-AE30-00B6B8AE5ABB}" dt="2019-03-02T18:57:10.341" v="67" actId="12788"/>
        <pc:sldMkLst>
          <pc:docMk/>
          <pc:sldMk cId="3241864572" sldId="315"/>
        </pc:sldMkLst>
        <pc:spChg chg="mod">
          <ac:chgData name="Young, Andrew N" userId="2b031776-7d42-478c-8563-72e581495ec2" providerId="ADAL" clId="{9F6E82C4-5401-4D61-AE30-00B6B8AE5ABB}" dt="2019-03-02T18:57:10.341" v="67" actId="12788"/>
          <ac:spMkLst>
            <pc:docMk/>
            <pc:sldMk cId="3241864572" sldId="315"/>
            <ac:spMk id="7" creationId="{00000000-0000-0000-0000-000000000000}"/>
          </ac:spMkLst>
        </pc:spChg>
      </pc:sldChg>
    </pc:docChg>
  </pc:docChgLst>
  <pc:docChgLst>
    <pc:chgData name="Young, Andrew N" userId="2b031776-7d42-478c-8563-72e581495ec2" providerId="ADAL" clId="{BCB37101-DD21-41F0-8144-A8E207FE2E90}"/>
    <pc:docChg chg="undo custSel addSld delSld modSld sldOrd">
      <pc:chgData name="Young, Andrew N" userId="2b031776-7d42-478c-8563-72e581495ec2" providerId="ADAL" clId="{BCB37101-DD21-41F0-8144-A8E207FE2E90}" dt="2019-03-12T02:22:52.199" v="3667"/>
      <pc:docMkLst>
        <pc:docMk/>
      </pc:docMkLst>
      <pc:sldChg chg="modSp">
        <pc:chgData name="Young, Andrew N" userId="2b031776-7d42-478c-8563-72e581495ec2" providerId="ADAL" clId="{BCB37101-DD21-41F0-8144-A8E207FE2E90}" dt="2019-03-09T18:06:02.327" v="130" actId="255"/>
        <pc:sldMkLst>
          <pc:docMk/>
          <pc:sldMk cId="1932738929" sldId="256"/>
        </pc:sldMkLst>
        <pc:spChg chg="mod">
          <ac:chgData name="Young, Andrew N" userId="2b031776-7d42-478c-8563-72e581495ec2" providerId="ADAL" clId="{BCB37101-DD21-41F0-8144-A8E207FE2E90}" dt="2019-03-09T18:06:02.327" v="130" actId="255"/>
          <ac:spMkLst>
            <pc:docMk/>
            <pc:sldMk cId="1932738929" sldId="256"/>
            <ac:spMk id="2" creationId="{00000000-0000-0000-0000-000000000000}"/>
          </ac:spMkLst>
        </pc:spChg>
        <pc:spChg chg="mod">
          <ac:chgData name="Young, Andrew N" userId="2b031776-7d42-478c-8563-72e581495ec2" providerId="ADAL" clId="{BCB37101-DD21-41F0-8144-A8E207FE2E90}" dt="2019-03-09T18:04:03.742" v="89" actId="14100"/>
          <ac:spMkLst>
            <pc:docMk/>
            <pc:sldMk cId="1932738929" sldId="256"/>
            <ac:spMk id="3" creationId="{00000000-0000-0000-0000-000000000000}"/>
          </ac:spMkLst>
        </pc:spChg>
        <pc:spChg chg="mod">
          <ac:chgData name="Young, Andrew N" userId="2b031776-7d42-478c-8563-72e581495ec2" providerId="ADAL" clId="{BCB37101-DD21-41F0-8144-A8E207FE2E90}" dt="2019-03-09T18:04:35.830" v="97" actId="20577"/>
          <ac:spMkLst>
            <pc:docMk/>
            <pc:sldMk cId="1932738929" sldId="256"/>
            <ac:spMk id="4" creationId="{00000000-0000-0000-0000-000000000000}"/>
          </ac:spMkLst>
        </pc:spChg>
      </pc:sldChg>
      <pc:sldChg chg="modSp">
        <pc:chgData name="Young, Andrew N" userId="2b031776-7d42-478c-8563-72e581495ec2" providerId="ADAL" clId="{BCB37101-DD21-41F0-8144-A8E207FE2E90}" dt="2019-03-12T01:52:00.247" v="3606" actId="20577"/>
        <pc:sldMkLst>
          <pc:docMk/>
          <pc:sldMk cId="3463538862" sldId="258"/>
        </pc:sldMkLst>
        <pc:spChg chg="mod">
          <ac:chgData name="Young, Andrew N" userId="2b031776-7d42-478c-8563-72e581495ec2" providerId="ADAL" clId="{BCB37101-DD21-41F0-8144-A8E207FE2E90}" dt="2019-03-12T01:52:00.247" v="3606" actId="20577"/>
          <ac:spMkLst>
            <pc:docMk/>
            <pc:sldMk cId="3463538862" sldId="258"/>
            <ac:spMk id="3" creationId="{00000000-0000-0000-0000-000000000000}"/>
          </ac:spMkLst>
        </pc:spChg>
      </pc:sldChg>
      <pc:sldChg chg="modSp">
        <pc:chgData name="Young, Andrew N" userId="2b031776-7d42-478c-8563-72e581495ec2" providerId="ADAL" clId="{BCB37101-DD21-41F0-8144-A8E207FE2E90}" dt="2019-03-09T18:11:25.435" v="145" actId="20577"/>
        <pc:sldMkLst>
          <pc:docMk/>
          <pc:sldMk cId="192309706" sldId="261"/>
        </pc:sldMkLst>
        <pc:spChg chg="mod">
          <ac:chgData name="Young, Andrew N" userId="2b031776-7d42-478c-8563-72e581495ec2" providerId="ADAL" clId="{BCB37101-DD21-41F0-8144-A8E207FE2E90}" dt="2019-03-09T18:11:25.435" v="145" actId="20577"/>
          <ac:spMkLst>
            <pc:docMk/>
            <pc:sldMk cId="192309706" sldId="261"/>
            <ac:spMk id="3" creationId="{00000000-0000-0000-0000-000000000000}"/>
          </ac:spMkLst>
        </pc:spChg>
      </pc:sldChg>
      <pc:sldChg chg="modSp">
        <pc:chgData name="Young, Andrew N" userId="2b031776-7d42-478c-8563-72e581495ec2" providerId="ADAL" clId="{BCB37101-DD21-41F0-8144-A8E207FE2E90}" dt="2019-03-12T01:49:27.733" v="3507" actId="20577"/>
        <pc:sldMkLst>
          <pc:docMk/>
          <pc:sldMk cId="3853712243" sldId="287"/>
        </pc:sldMkLst>
        <pc:spChg chg="mod">
          <ac:chgData name="Young, Andrew N" userId="2b031776-7d42-478c-8563-72e581495ec2" providerId="ADAL" clId="{BCB37101-DD21-41F0-8144-A8E207FE2E90}" dt="2019-03-12T01:49:27.733" v="3507" actId="20577"/>
          <ac:spMkLst>
            <pc:docMk/>
            <pc:sldMk cId="3853712243" sldId="287"/>
            <ac:spMk id="3" creationId="{00000000-0000-0000-0000-000000000000}"/>
          </ac:spMkLst>
        </pc:spChg>
      </pc:sldChg>
      <pc:sldChg chg="modSp">
        <pc:chgData name="Young, Andrew N" userId="2b031776-7d42-478c-8563-72e581495ec2" providerId="ADAL" clId="{BCB37101-DD21-41F0-8144-A8E207FE2E90}" dt="2019-03-12T01:55:30.589" v="3616" actId="27636"/>
        <pc:sldMkLst>
          <pc:docMk/>
          <pc:sldMk cId="410458871" sldId="290"/>
        </pc:sldMkLst>
        <pc:spChg chg="mod">
          <ac:chgData name="Young, Andrew N" userId="2b031776-7d42-478c-8563-72e581495ec2" providerId="ADAL" clId="{BCB37101-DD21-41F0-8144-A8E207FE2E90}" dt="2019-03-12T01:55:30.589" v="3616" actId="27636"/>
          <ac:spMkLst>
            <pc:docMk/>
            <pc:sldMk cId="410458871" sldId="290"/>
            <ac:spMk id="3" creationId="{00000000-0000-0000-0000-000000000000}"/>
          </ac:spMkLst>
        </pc:spChg>
      </pc:sldChg>
      <pc:sldChg chg="modSp">
        <pc:chgData name="Young, Andrew N" userId="2b031776-7d42-478c-8563-72e581495ec2" providerId="ADAL" clId="{BCB37101-DD21-41F0-8144-A8E207FE2E90}" dt="2019-03-12T01:59:07.718" v="3619" actId="20577"/>
        <pc:sldMkLst>
          <pc:docMk/>
          <pc:sldMk cId="11131918" sldId="293"/>
        </pc:sldMkLst>
        <pc:graphicFrameChg chg="modGraphic">
          <ac:chgData name="Young, Andrew N" userId="2b031776-7d42-478c-8563-72e581495ec2" providerId="ADAL" clId="{BCB37101-DD21-41F0-8144-A8E207FE2E90}" dt="2019-03-12T01:59:07.718" v="3619" actId="20577"/>
          <ac:graphicFrameMkLst>
            <pc:docMk/>
            <pc:sldMk cId="11131918" sldId="293"/>
            <ac:graphicFrameMk id="5" creationId="{00000000-0000-0000-0000-000000000000}"/>
          </ac:graphicFrameMkLst>
        </pc:graphicFrameChg>
      </pc:sldChg>
      <pc:sldChg chg="addSp modSp modAnim">
        <pc:chgData name="Young, Andrew N" userId="2b031776-7d42-478c-8563-72e581495ec2" providerId="ADAL" clId="{BCB37101-DD21-41F0-8144-A8E207FE2E90}" dt="2019-03-11T17:01:00.686" v="2505"/>
        <pc:sldMkLst>
          <pc:docMk/>
          <pc:sldMk cId="101746411" sldId="302"/>
        </pc:sldMkLst>
        <pc:spChg chg="mod">
          <ac:chgData name="Young, Andrew N" userId="2b031776-7d42-478c-8563-72e581495ec2" providerId="ADAL" clId="{BCB37101-DD21-41F0-8144-A8E207FE2E90}" dt="2019-03-11T16:27:44.778" v="1893" actId="20577"/>
          <ac:spMkLst>
            <pc:docMk/>
            <pc:sldMk cId="101746411" sldId="302"/>
            <ac:spMk id="2" creationId="{00000000-0000-0000-0000-000000000000}"/>
          </ac:spMkLst>
        </pc:spChg>
        <pc:spChg chg="add mod">
          <ac:chgData name="Young, Andrew N" userId="2b031776-7d42-478c-8563-72e581495ec2" providerId="ADAL" clId="{BCB37101-DD21-41F0-8144-A8E207FE2E90}" dt="2019-03-11T17:00:06.668" v="2496" actId="164"/>
          <ac:spMkLst>
            <pc:docMk/>
            <pc:sldMk cId="101746411" sldId="302"/>
            <ac:spMk id="3" creationId="{F0B3BC30-2988-4C3D-99EE-7953B42161BB}"/>
          </ac:spMkLst>
        </pc:spChg>
        <pc:spChg chg="mod">
          <ac:chgData name="Young, Andrew N" userId="2b031776-7d42-478c-8563-72e581495ec2" providerId="ADAL" clId="{BCB37101-DD21-41F0-8144-A8E207FE2E90}" dt="2019-03-11T17:00:06.668" v="2496" actId="164"/>
          <ac:spMkLst>
            <pc:docMk/>
            <pc:sldMk cId="101746411" sldId="302"/>
            <ac:spMk id="8" creationId="{00000000-0000-0000-0000-000000000000}"/>
          </ac:spMkLst>
        </pc:spChg>
        <pc:spChg chg="mod">
          <ac:chgData name="Young, Andrew N" userId="2b031776-7d42-478c-8563-72e581495ec2" providerId="ADAL" clId="{BCB37101-DD21-41F0-8144-A8E207FE2E90}" dt="2019-03-11T17:00:34.393" v="2502" actId="164"/>
          <ac:spMkLst>
            <pc:docMk/>
            <pc:sldMk cId="101746411" sldId="302"/>
            <ac:spMk id="9" creationId="{00000000-0000-0000-0000-000000000000}"/>
          </ac:spMkLst>
        </pc:spChg>
        <pc:spChg chg="add mod">
          <ac:chgData name="Young, Andrew N" userId="2b031776-7d42-478c-8563-72e581495ec2" providerId="ADAL" clId="{BCB37101-DD21-41F0-8144-A8E207FE2E90}" dt="2019-03-11T17:00:34.393" v="2502" actId="164"/>
          <ac:spMkLst>
            <pc:docMk/>
            <pc:sldMk cId="101746411" sldId="302"/>
            <ac:spMk id="11" creationId="{9E82C9F0-5261-4664-9528-76AEB79DF252}"/>
          </ac:spMkLst>
        </pc:spChg>
        <pc:grpChg chg="add mod">
          <ac:chgData name="Young, Andrew N" userId="2b031776-7d42-478c-8563-72e581495ec2" providerId="ADAL" clId="{BCB37101-DD21-41F0-8144-A8E207FE2E90}" dt="2019-03-11T17:00:06.668" v="2496" actId="164"/>
          <ac:grpSpMkLst>
            <pc:docMk/>
            <pc:sldMk cId="101746411" sldId="302"/>
            <ac:grpSpMk id="12" creationId="{EFAC10C4-BCD4-4E5D-B92A-9682D8D4D915}"/>
          </ac:grpSpMkLst>
        </pc:grpChg>
        <pc:grpChg chg="add mod">
          <ac:chgData name="Young, Andrew N" userId="2b031776-7d42-478c-8563-72e581495ec2" providerId="ADAL" clId="{BCB37101-DD21-41F0-8144-A8E207FE2E90}" dt="2019-03-11T17:00:34.393" v="2502" actId="164"/>
          <ac:grpSpMkLst>
            <pc:docMk/>
            <pc:sldMk cId="101746411" sldId="302"/>
            <ac:grpSpMk id="13" creationId="{713B3707-6C07-460A-AB03-82B69E9F9CF7}"/>
          </ac:grpSpMkLst>
        </pc:grpChg>
        <pc:graphicFrameChg chg="mod">
          <ac:chgData name="Young, Andrew N" userId="2b031776-7d42-478c-8563-72e581495ec2" providerId="ADAL" clId="{BCB37101-DD21-41F0-8144-A8E207FE2E90}" dt="2019-03-11T16:30:39.328" v="1956" actId="12788"/>
          <ac:graphicFrameMkLst>
            <pc:docMk/>
            <pc:sldMk cId="101746411" sldId="302"/>
            <ac:graphicFrameMk id="5" creationId="{00000000-0000-0000-0000-000000000000}"/>
          </ac:graphicFrameMkLst>
        </pc:graphicFrameChg>
      </pc:sldChg>
      <pc:sldChg chg="addSp modSp modAnim">
        <pc:chgData name="Young, Andrew N" userId="2b031776-7d42-478c-8563-72e581495ec2" providerId="ADAL" clId="{BCB37101-DD21-41F0-8144-A8E207FE2E90}" dt="2019-03-11T17:01:27.887" v="2507"/>
        <pc:sldMkLst>
          <pc:docMk/>
          <pc:sldMk cId="484104095" sldId="303"/>
        </pc:sldMkLst>
        <pc:spChg chg="mod">
          <ac:chgData name="Young, Andrew N" userId="2b031776-7d42-478c-8563-72e581495ec2" providerId="ADAL" clId="{BCB37101-DD21-41F0-8144-A8E207FE2E90}" dt="2019-03-11T16:27:53.693" v="1894"/>
          <ac:spMkLst>
            <pc:docMk/>
            <pc:sldMk cId="484104095" sldId="303"/>
            <ac:spMk id="2" creationId="{00000000-0000-0000-0000-000000000000}"/>
          </ac:spMkLst>
        </pc:spChg>
        <pc:spChg chg="mod">
          <ac:chgData name="Young, Andrew N" userId="2b031776-7d42-478c-8563-72e581495ec2" providerId="ADAL" clId="{BCB37101-DD21-41F0-8144-A8E207FE2E90}" dt="2019-03-11T17:01:24.355" v="2506" actId="164"/>
          <ac:spMkLst>
            <pc:docMk/>
            <pc:sldMk cId="484104095" sldId="303"/>
            <ac:spMk id="7" creationId="{00000000-0000-0000-0000-000000000000}"/>
          </ac:spMkLst>
        </pc:spChg>
        <pc:spChg chg="add mod">
          <ac:chgData name="Young, Andrew N" userId="2b031776-7d42-478c-8563-72e581495ec2" providerId="ADAL" clId="{BCB37101-DD21-41F0-8144-A8E207FE2E90}" dt="2019-03-11T17:01:24.355" v="2506" actId="164"/>
          <ac:spMkLst>
            <pc:docMk/>
            <pc:sldMk cId="484104095" sldId="303"/>
            <ac:spMk id="8" creationId="{A51A3CD9-B15A-4C61-A048-71C953209F3F}"/>
          </ac:spMkLst>
        </pc:spChg>
        <pc:grpChg chg="add mod">
          <ac:chgData name="Young, Andrew N" userId="2b031776-7d42-478c-8563-72e581495ec2" providerId="ADAL" clId="{BCB37101-DD21-41F0-8144-A8E207FE2E90}" dt="2019-03-11T17:01:24.355" v="2506" actId="164"/>
          <ac:grpSpMkLst>
            <pc:docMk/>
            <pc:sldMk cId="484104095" sldId="303"/>
            <ac:grpSpMk id="9" creationId="{E3C92ACB-A2BF-4437-8053-6588F49A1450}"/>
          </ac:grpSpMkLst>
        </pc:grpChg>
      </pc:sldChg>
      <pc:sldChg chg="modSp ord modAnim">
        <pc:chgData name="Young, Andrew N" userId="2b031776-7d42-478c-8563-72e581495ec2" providerId="ADAL" clId="{BCB37101-DD21-41F0-8144-A8E207FE2E90}" dt="2019-03-12T01:57:12.546" v="3618"/>
        <pc:sldMkLst>
          <pc:docMk/>
          <pc:sldMk cId="246628388" sldId="305"/>
        </pc:sldMkLst>
        <pc:spChg chg="mod">
          <ac:chgData name="Young, Andrew N" userId="2b031776-7d42-478c-8563-72e581495ec2" providerId="ADAL" clId="{BCB37101-DD21-41F0-8144-A8E207FE2E90}" dt="2019-03-11T16:57:39.564" v="2495" actId="20577"/>
          <ac:spMkLst>
            <pc:docMk/>
            <pc:sldMk cId="246628388" sldId="305"/>
            <ac:spMk id="2" creationId="{00000000-0000-0000-0000-000000000000}"/>
          </ac:spMkLst>
        </pc:spChg>
      </pc:sldChg>
      <pc:sldChg chg="ord">
        <pc:chgData name="Young, Andrew N" userId="2b031776-7d42-478c-8563-72e581495ec2" providerId="ADAL" clId="{BCB37101-DD21-41F0-8144-A8E207FE2E90}" dt="2019-03-12T02:22:52.199" v="3667"/>
        <pc:sldMkLst>
          <pc:docMk/>
          <pc:sldMk cId="2827942879" sldId="306"/>
        </pc:sldMkLst>
      </pc:sldChg>
      <pc:sldChg chg="addSp delSp modSp delAnim modAnim">
        <pc:chgData name="Young, Andrew N" userId="2b031776-7d42-478c-8563-72e581495ec2" providerId="ADAL" clId="{BCB37101-DD21-41F0-8144-A8E207FE2E90}" dt="2019-03-11T18:01:25.552" v="3496" actId="20577"/>
        <pc:sldMkLst>
          <pc:docMk/>
          <pc:sldMk cId="2365479289" sldId="314"/>
        </pc:sldMkLst>
        <pc:spChg chg="mod">
          <ac:chgData name="Young, Andrew N" userId="2b031776-7d42-478c-8563-72e581495ec2" providerId="ADAL" clId="{BCB37101-DD21-41F0-8144-A8E207FE2E90}" dt="2019-03-11T18:01:25.552" v="3496" actId="20577"/>
          <ac:spMkLst>
            <pc:docMk/>
            <pc:sldMk cId="2365479289" sldId="314"/>
            <ac:spMk id="3" creationId="{00000000-0000-0000-0000-000000000000}"/>
          </ac:spMkLst>
        </pc:spChg>
        <pc:spChg chg="del">
          <ac:chgData name="Young, Andrew N" userId="2b031776-7d42-478c-8563-72e581495ec2" providerId="ADAL" clId="{BCB37101-DD21-41F0-8144-A8E207FE2E90}" dt="2019-03-11T16:54:09.800" v="2450" actId="478"/>
          <ac:spMkLst>
            <pc:docMk/>
            <pc:sldMk cId="2365479289" sldId="314"/>
            <ac:spMk id="6" creationId="{00000000-0000-0000-0000-000000000000}"/>
          </ac:spMkLst>
        </pc:spChg>
        <pc:spChg chg="mod">
          <ac:chgData name="Young, Andrew N" userId="2b031776-7d42-478c-8563-72e581495ec2" providerId="ADAL" clId="{BCB37101-DD21-41F0-8144-A8E207FE2E90}" dt="2019-03-11T17:56:24.247" v="3330" actId="1036"/>
          <ac:spMkLst>
            <pc:docMk/>
            <pc:sldMk cId="2365479289" sldId="314"/>
            <ac:spMk id="7" creationId="{00000000-0000-0000-0000-000000000000}"/>
          </ac:spMkLst>
        </pc:spChg>
        <pc:spChg chg="add mod">
          <ac:chgData name="Young, Andrew N" userId="2b031776-7d42-478c-8563-72e581495ec2" providerId="ADAL" clId="{BCB37101-DD21-41F0-8144-A8E207FE2E90}" dt="2019-03-11T17:59:52.040" v="3487" actId="692"/>
          <ac:spMkLst>
            <pc:docMk/>
            <pc:sldMk cId="2365479289" sldId="314"/>
            <ac:spMk id="11" creationId="{F15BF0E9-1847-41A9-8F1F-FA078E4517E3}"/>
          </ac:spMkLst>
        </pc:spChg>
        <pc:spChg chg="add mod">
          <ac:chgData name="Young, Andrew N" userId="2b031776-7d42-478c-8563-72e581495ec2" providerId="ADAL" clId="{BCB37101-DD21-41F0-8144-A8E207FE2E90}" dt="2019-03-11T17:59:52.040" v="3487" actId="692"/>
          <ac:spMkLst>
            <pc:docMk/>
            <pc:sldMk cId="2365479289" sldId="314"/>
            <ac:spMk id="13" creationId="{158ECC2F-67AF-4206-B99D-716B85D2279F}"/>
          </ac:spMkLst>
        </pc:spChg>
        <pc:spChg chg="add mod">
          <ac:chgData name="Young, Andrew N" userId="2b031776-7d42-478c-8563-72e581495ec2" providerId="ADAL" clId="{BCB37101-DD21-41F0-8144-A8E207FE2E90}" dt="2019-03-11T18:00:53.064" v="3495" actId="164"/>
          <ac:spMkLst>
            <pc:docMk/>
            <pc:sldMk cId="2365479289" sldId="314"/>
            <ac:spMk id="15" creationId="{6AEEF478-8F2B-4B6C-B10E-9B22C71411D0}"/>
          </ac:spMkLst>
        </pc:spChg>
        <pc:spChg chg="del">
          <ac:chgData name="Young, Andrew N" userId="2b031776-7d42-478c-8563-72e581495ec2" providerId="ADAL" clId="{BCB37101-DD21-41F0-8144-A8E207FE2E90}" dt="2019-03-11T16:54:01.063" v="2448" actId="478"/>
          <ac:spMkLst>
            <pc:docMk/>
            <pc:sldMk cId="2365479289" sldId="314"/>
            <ac:spMk id="26" creationId="{00000000-0000-0000-0000-000000000000}"/>
          </ac:spMkLst>
        </pc:spChg>
        <pc:spChg chg="del">
          <ac:chgData name="Young, Andrew N" userId="2b031776-7d42-478c-8563-72e581495ec2" providerId="ADAL" clId="{BCB37101-DD21-41F0-8144-A8E207FE2E90}" dt="2019-03-11T16:54:01.063" v="2448" actId="478"/>
          <ac:spMkLst>
            <pc:docMk/>
            <pc:sldMk cId="2365479289" sldId="314"/>
            <ac:spMk id="27" creationId="{00000000-0000-0000-0000-000000000000}"/>
          </ac:spMkLst>
        </pc:spChg>
        <pc:spChg chg="del">
          <ac:chgData name="Young, Andrew N" userId="2b031776-7d42-478c-8563-72e581495ec2" providerId="ADAL" clId="{BCB37101-DD21-41F0-8144-A8E207FE2E90}" dt="2019-03-11T16:54:07.979" v="2449" actId="478"/>
          <ac:spMkLst>
            <pc:docMk/>
            <pc:sldMk cId="2365479289" sldId="314"/>
            <ac:spMk id="28" creationId="{00000000-0000-0000-0000-000000000000}"/>
          </ac:spMkLst>
        </pc:spChg>
        <pc:spChg chg="del">
          <ac:chgData name="Young, Andrew N" userId="2b031776-7d42-478c-8563-72e581495ec2" providerId="ADAL" clId="{BCB37101-DD21-41F0-8144-A8E207FE2E90}" dt="2019-03-11T16:54:01.063" v="2448" actId="478"/>
          <ac:spMkLst>
            <pc:docMk/>
            <pc:sldMk cId="2365479289" sldId="314"/>
            <ac:spMk id="29" creationId="{00000000-0000-0000-0000-000000000000}"/>
          </ac:spMkLst>
        </pc:spChg>
        <pc:spChg chg="del">
          <ac:chgData name="Young, Andrew N" userId="2b031776-7d42-478c-8563-72e581495ec2" providerId="ADAL" clId="{BCB37101-DD21-41F0-8144-A8E207FE2E90}" dt="2019-03-11T16:54:07.979" v="2449" actId="478"/>
          <ac:spMkLst>
            <pc:docMk/>
            <pc:sldMk cId="2365479289" sldId="314"/>
            <ac:spMk id="30" creationId="{00000000-0000-0000-0000-000000000000}"/>
          </ac:spMkLst>
        </pc:spChg>
        <pc:spChg chg="del">
          <ac:chgData name="Young, Andrew N" userId="2b031776-7d42-478c-8563-72e581495ec2" providerId="ADAL" clId="{BCB37101-DD21-41F0-8144-A8E207FE2E90}" dt="2019-03-11T16:54:01.063" v="2448" actId="478"/>
          <ac:spMkLst>
            <pc:docMk/>
            <pc:sldMk cId="2365479289" sldId="314"/>
            <ac:spMk id="31" creationId="{00000000-0000-0000-0000-000000000000}"/>
          </ac:spMkLst>
        </pc:spChg>
        <pc:spChg chg="del">
          <ac:chgData name="Young, Andrew N" userId="2b031776-7d42-478c-8563-72e581495ec2" providerId="ADAL" clId="{BCB37101-DD21-41F0-8144-A8E207FE2E90}" dt="2019-03-11T16:54:01.063" v="2448" actId="478"/>
          <ac:spMkLst>
            <pc:docMk/>
            <pc:sldMk cId="2365479289" sldId="314"/>
            <ac:spMk id="32" creationId="{00000000-0000-0000-0000-000000000000}"/>
          </ac:spMkLst>
        </pc:spChg>
        <pc:spChg chg="del">
          <ac:chgData name="Young, Andrew N" userId="2b031776-7d42-478c-8563-72e581495ec2" providerId="ADAL" clId="{BCB37101-DD21-41F0-8144-A8E207FE2E90}" dt="2019-03-11T16:54:01.063" v="2448" actId="478"/>
          <ac:spMkLst>
            <pc:docMk/>
            <pc:sldMk cId="2365479289" sldId="314"/>
            <ac:spMk id="33" creationId="{00000000-0000-0000-0000-000000000000}"/>
          </ac:spMkLst>
        </pc:spChg>
        <pc:spChg chg="del">
          <ac:chgData name="Young, Andrew N" userId="2b031776-7d42-478c-8563-72e581495ec2" providerId="ADAL" clId="{BCB37101-DD21-41F0-8144-A8E207FE2E90}" dt="2019-03-11T16:54:01.063" v="2448" actId="478"/>
          <ac:spMkLst>
            <pc:docMk/>
            <pc:sldMk cId="2365479289" sldId="314"/>
            <ac:spMk id="34" creationId="{00000000-0000-0000-0000-000000000000}"/>
          </ac:spMkLst>
        </pc:spChg>
        <pc:spChg chg="del">
          <ac:chgData name="Young, Andrew N" userId="2b031776-7d42-478c-8563-72e581495ec2" providerId="ADAL" clId="{BCB37101-DD21-41F0-8144-A8E207FE2E90}" dt="2019-03-11T16:54:01.063" v="2448" actId="478"/>
          <ac:spMkLst>
            <pc:docMk/>
            <pc:sldMk cId="2365479289" sldId="314"/>
            <ac:spMk id="35" creationId="{00000000-0000-0000-0000-000000000000}"/>
          </ac:spMkLst>
        </pc:spChg>
        <pc:spChg chg="del">
          <ac:chgData name="Young, Andrew N" userId="2b031776-7d42-478c-8563-72e581495ec2" providerId="ADAL" clId="{BCB37101-DD21-41F0-8144-A8E207FE2E90}" dt="2019-03-11T16:54:01.063" v="2448" actId="478"/>
          <ac:spMkLst>
            <pc:docMk/>
            <pc:sldMk cId="2365479289" sldId="314"/>
            <ac:spMk id="36" creationId="{00000000-0000-0000-0000-000000000000}"/>
          </ac:spMkLst>
        </pc:spChg>
        <pc:spChg chg="del">
          <ac:chgData name="Young, Andrew N" userId="2b031776-7d42-478c-8563-72e581495ec2" providerId="ADAL" clId="{BCB37101-DD21-41F0-8144-A8E207FE2E90}" dt="2019-03-11T16:54:01.063" v="2448" actId="478"/>
          <ac:spMkLst>
            <pc:docMk/>
            <pc:sldMk cId="2365479289" sldId="314"/>
            <ac:spMk id="37" creationId="{00000000-0000-0000-0000-000000000000}"/>
          </ac:spMkLst>
        </pc:spChg>
        <pc:spChg chg="del">
          <ac:chgData name="Young, Andrew N" userId="2b031776-7d42-478c-8563-72e581495ec2" providerId="ADAL" clId="{BCB37101-DD21-41F0-8144-A8E207FE2E90}" dt="2019-03-11T16:54:01.063" v="2448" actId="478"/>
          <ac:spMkLst>
            <pc:docMk/>
            <pc:sldMk cId="2365479289" sldId="314"/>
            <ac:spMk id="38" creationId="{00000000-0000-0000-0000-000000000000}"/>
          </ac:spMkLst>
        </pc:spChg>
        <pc:spChg chg="del">
          <ac:chgData name="Young, Andrew N" userId="2b031776-7d42-478c-8563-72e581495ec2" providerId="ADAL" clId="{BCB37101-DD21-41F0-8144-A8E207FE2E90}" dt="2019-03-11T16:54:01.063" v="2448" actId="478"/>
          <ac:spMkLst>
            <pc:docMk/>
            <pc:sldMk cId="2365479289" sldId="314"/>
            <ac:spMk id="39" creationId="{00000000-0000-0000-0000-000000000000}"/>
          </ac:spMkLst>
        </pc:spChg>
        <pc:spChg chg="del">
          <ac:chgData name="Young, Andrew N" userId="2b031776-7d42-478c-8563-72e581495ec2" providerId="ADAL" clId="{BCB37101-DD21-41F0-8144-A8E207FE2E90}" dt="2019-03-11T16:54:01.063" v="2448" actId="478"/>
          <ac:spMkLst>
            <pc:docMk/>
            <pc:sldMk cId="2365479289" sldId="314"/>
            <ac:spMk id="40" creationId="{00000000-0000-0000-0000-000000000000}"/>
          </ac:spMkLst>
        </pc:spChg>
        <pc:spChg chg="del">
          <ac:chgData name="Young, Andrew N" userId="2b031776-7d42-478c-8563-72e581495ec2" providerId="ADAL" clId="{BCB37101-DD21-41F0-8144-A8E207FE2E90}" dt="2019-03-11T16:54:01.063" v="2448" actId="478"/>
          <ac:spMkLst>
            <pc:docMk/>
            <pc:sldMk cId="2365479289" sldId="314"/>
            <ac:spMk id="41" creationId="{00000000-0000-0000-0000-000000000000}"/>
          </ac:spMkLst>
        </pc:spChg>
        <pc:spChg chg="del">
          <ac:chgData name="Young, Andrew N" userId="2b031776-7d42-478c-8563-72e581495ec2" providerId="ADAL" clId="{BCB37101-DD21-41F0-8144-A8E207FE2E90}" dt="2019-03-11T16:54:07.979" v="2449" actId="478"/>
          <ac:spMkLst>
            <pc:docMk/>
            <pc:sldMk cId="2365479289" sldId="314"/>
            <ac:spMk id="42" creationId="{00000000-0000-0000-0000-000000000000}"/>
          </ac:spMkLst>
        </pc:spChg>
        <pc:spChg chg="del">
          <ac:chgData name="Young, Andrew N" userId="2b031776-7d42-478c-8563-72e581495ec2" providerId="ADAL" clId="{BCB37101-DD21-41F0-8144-A8E207FE2E90}" dt="2019-03-11T16:54:01.063" v="2448" actId="478"/>
          <ac:spMkLst>
            <pc:docMk/>
            <pc:sldMk cId="2365479289" sldId="314"/>
            <ac:spMk id="43" creationId="{00000000-0000-0000-0000-000000000000}"/>
          </ac:spMkLst>
        </pc:spChg>
        <pc:spChg chg="add mod">
          <ac:chgData name="Young, Andrew N" userId="2b031776-7d42-478c-8563-72e581495ec2" providerId="ADAL" clId="{BCB37101-DD21-41F0-8144-A8E207FE2E90}" dt="2019-03-11T17:59:52.040" v="3487" actId="692"/>
          <ac:spMkLst>
            <pc:docMk/>
            <pc:sldMk cId="2365479289" sldId="314"/>
            <ac:spMk id="46" creationId="{0A5BB991-86AB-4AC7-9D5B-DB33D9A530EC}"/>
          </ac:spMkLst>
        </pc:spChg>
        <pc:spChg chg="add mod">
          <ac:chgData name="Young, Andrew N" userId="2b031776-7d42-478c-8563-72e581495ec2" providerId="ADAL" clId="{BCB37101-DD21-41F0-8144-A8E207FE2E90}" dt="2019-03-11T17:59:52.040" v="3487" actId="692"/>
          <ac:spMkLst>
            <pc:docMk/>
            <pc:sldMk cId="2365479289" sldId="314"/>
            <ac:spMk id="47" creationId="{2CE4921F-CC00-48AA-81C2-52D4E27E51B4}"/>
          </ac:spMkLst>
        </pc:spChg>
        <pc:spChg chg="add mod">
          <ac:chgData name="Young, Andrew N" userId="2b031776-7d42-478c-8563-72e581495ec2" providerId="ADAL" clId="{BCB37101-DD21-41F0-8144-A8E207FE2E90}" dt="2019-03-11T17:59:52.040" v="3487" actId="692"/>
          <ac:spMkLst>
            <pc:docMk/>
            <pc:sldMk cId="2365479289" sldId="314"/>
            <ac:spMk id="48" creationId="{AD0DE6C1-1F17-40CA-A515-5F9FE072880C}"/>
          </ac:spMkLst>
        </pc:spChg>
        <pc:spChg chg="add mod">
          <ac:chgData name="Young, Andrew N" userId="2b031776-7d42-478c-8563-72e581495ec2" providerId="ADAL" clId="{BCB37101-DD21-41F0-8144-A8E207FE2E90}" dt="2019-03-11T17:59:52.040" v="3487" actId="692"/>
          <ac:spMkLst>
            <pc:docMk/>
            <pc:sldMk cId="2365479289" sldId="314"/>
            <ac:spMk id="49" creationId="{7FD88A27-89FA-46CA-9DF7-9867D36AC7F1}"/>
          </ac:spMkLst>
        </pc:spChg>
        <pc:spChg chg="add mod">
          <ac:chgData name="Young, Andrew N" userId="2b031776-7d42-478c-8563-72e581495ec2" providerId="ADAL" clId="{BCB37101-DD21-41F0-8144-A8E207FE2E90}" dt="2019-03-11T17:59:52.040" v="3487" actId="692"/>
          <ac:spMkLst>
            <pc:docMk/>
            <pc:sldMk cId="2365479289" sldId="314"/>
            <ac:spMk id="50" creationId="{CFD5C839-8D17-4DB4-80AE-ED4F49E72CE5}"/>
          </ac:spMkLst>
        </pc:spChg>
        <pc:spChg chg="add mod">
          <ac:chgData name="Young, Andrew N" userId="2b031776-7d42-478c-8563-72e581495ec2" providerId="ADAL" clId="{BCB37101-DD21-41F0-8144-A8E207FE2E90}" dt="2019-03-11T17:59:52.040" v="3487" actId="692"/>
          <ac:spMkLst>
            <pc:docMk/>
            <pc:sldMk cId="2365479289" sldId="314"/>
            <ac:spMk id="54" creationId="{93FF2F26-1CF5-4563-BE2B-B1DDAE997C63}"/>
          </ac:spMkLst>
        </pc:spChg>
        <pc:spChg chg="add mod">
          <ac:chgData name="Young, Andrew N" userId="2b031776-7d42-478c-8563-72e581495ec2" providerId="ADAL" clId="{BCB37101-DD21-41F0-8144-A8E207FE2E90}" dt="2019-03-11T17:59:52.040" v="3487" actId="692"/>
          <ac:spMkLst>
            <pc:docMk/>
            <pc:sldMk cId="2365479289" sldId="314"/>
            <ac:spMk id="55" creationId="{1AA0A70C-84B0-4682-A7B8-3E871F16EFC0}"/>
          </ac:spMkLst>
        </pc:spChg>
        <pc:spChg chg="add mod">
          <ac:chgData name="Young, Andrew N" userId="2b031776-7d42-478c-8563-72e581495ec2" providerId="ADAL" clId="{BCB37101-DD21-41F0-8144-A8E207FE2E90}" dt="2019-03-11T18:00:53.064" v="3495" actId="164"/>
          <ac:spMkLst>
            <pc:docMk/>
            <pc:sldMk cId="2365479289" sldId="314"/>
            <ac:spMk id="56" creationId="{049F1894-8440-43D8-A06C-CA32E44478C0}"/>
          </ac:spMkLst>
        </pc:spChg>
        <pc:grpChg chg="add mod">
          <ac:chgData name="Young, Andrew N" userId="2b031776-7d42-478c-8563-72e581495ec2" providerId="ADAL" clId="{BCB37101-DD21-41F0-8144-A8E207FE2E90}" dt="2019-03-11T17:57:14.273" v="3347" actId="12788"/>
          <ac:grpSpMkLst>
            <pc:docMk/>
            <pc:sldMk cId="2365479289" sldId="314"/>
            <ac:grpSpMk id="10" creationId="{A0C576BD-0ABB-440C-BCA0-E35D4324F4EB}"/>
          </ac:grpSpMkLst>
        </pc:grpChg>
        <pc:grpChg chg="add mod">
          <ac:chgData name="Young, Andrew N" userId="2b031776-7d42-478c-8563-72e581495ec2" providerId="ADAL" clId="{BCB37101-DD21-41F0-8144-A8E207FE2E90}" dt="2019-03-11T17:57:14.273" v="3347" actId="12788"/>
          <ac:grpSpMkLst>
            <pc:docMk/>
            <pc:sldMk cId="2365479289" sldId="314"/>
            <ac:grpSpMk id="12" creationId="{04B4AEFF-C7F9-4A6A-A171-390BB7362AD0}"/>
          </ac:grpSpMkLst>
        </pc:grpChg>
        <pc:grpChg chg="add mod">
          <ac:chgData name="Young, Andrew N" userId="2b031776-7d42-478c-8563-72e581495ec2" providerId="ADAL" clId="{BCB37101-DD21-41F0-8144-A8E207FE2E90}" dt="2019-03-11T18:00:53.064" v="3495" actId="164"/>
          <ac:grpSpMkLst>
            <pc:docMk/>
            <pc:sldMk cId="2365479289" sldId="314"/>
            <ac:grpSpMk id="14" creationId="{B6AB7757-27C6-4870-8700-0BFF168B8A81}"/>
          </ac:grpSpMkLst>
        </pc:grpChg>
        <pc:grpChg chg="add mod">
          <ac:chgData name="Young, Andrew N" userId="2b031776-7d42-478c-8563-72e581495ec2" providerId="ADAL" clId="{BCB37101-DD21-41F0-8144-A8E207FE2E90}" dt="2019-03-11T18:00:53.064" v="3495" actId="164"/>
          <ac:grpSpMkLst>
            <pc:docMk/>
            <pc:sldMk cId="2365479289" sldId="314"/>
            <ac:grpSpMk id="16" creationId="{1230C736-263F-4304-860B-CD4B1E358EF4}"/>
          </ac:grpSpMkLst>
        </pc:grpChg>
        <pc:grpChg chg="add del mod">
          <ac:chgData name="Young, Andrew N" userId="2b031776-7d42-478c-8563-72e581495ec2" providerId="ADAL" clId="{BCB37101-DD21-41F0-8144-A8E207FE2E90}" dt="2019-03-11T17:52:46.652" v="3199" actId="478"/>
          <ac:grpSpMkLst>
            <pc:docMk/>
            <pc:sldMk cId="2365479289" sldId="314"/>
            <ac:grpSpMk id="51" creationId="{3A3DC846-1C8B-47E2-A7A0-54C10D7C2A12}"/>
          </ac:grpSpMkLst>
        </pc:grpChg>
        <pc:graphicFrameChg chg="del">
          <ac:chgData name="Young, Andrew N" userId="2b031776-7d42-478c-8563-72e581495ec2" providerId="ADAL" clId="{BCB37101-DD21-41F0-8144-A8E207FE2E90}" dt="2019-03-11T17:47:37.172" v="2847" actId="478"/>
          <ac:graphicFrameMkLst>
            <pc:docMk/>
            <pc:sldMk cId="2365479289" sldId="314"/>
            <ac:graphicFrameMk id="5" creationId="{00000000-0000-0000-0000-000000000000}"/>
          </ac:graphicFrameMkLst>
        </pc:graphicFrameChg>
        <pc:graphicFrameChg chg="del">
          <ac:chgData name="Young, Andrew N" userId="2b031776-7d42-478c-8563-72e581495ec2" providerId="ADAL" clId="{BCB37101-DD21-41F0-8144-A8E207FE2E90}" dt="2019-03-11T16:53:56.805" v="2447" actId="478"/>
          <ac:graphicFrameMkLst>
            <pc:docMk/>
            <pc:sldMk cId="2365479289" sldId="314"/>
            <ac:graphicFrameMk id="44" creationId="{00000000-0000-0000-0000-000000000000}"/>
          </ac:graphicFrameMkLst>
        </pc:graphicFrameChg>
        <pc:picChg chg="add mod modCrop">
          <ac:chgData name="Young, Andrew N" userId="2b031776-7d42-478c-8563-72e581495ec2" providerId="ADAL" clId="{BCB37101-DD21-41F0-8144-A8E207FE2E90}" dt="2019-03-11T17:59:52.040" v="3487" actId="692"/>
          <ac:picMkLst>
            <pc:docMk/>
            <pc:sldMk cId="2365479289" sldId="314"/>
            <ac:picMk id="8" creationId="{2E3BBE37-1156-407A-B55A-8BF90198A00E}"/>
          </ac:picMkLst>
        </pc:picChg>
        <pc:picChg chg="add mod">
          <ac:chgData name="Young, Andrew N" userId="2b031776-7d42-478c-8563-72e581495ec2" providerId="ADAL" clId="{BCB37101-DD21-41F0-8144-A8E207FE2E90}" dt="2019-03-11T17:59:52.040" v="3487" actId="692"/>
          <ac:picMkLst>
            <pc:docMk/>
            <pc:sldMk cId="2365479289" sldId="314"/>
            <ac:picMk id="9" creationId="{D6DEF02E-20CE-45BE-83AE-E861129EB43D}"/>
          </ac:picMkLst>
        </pc:picChg>
      </pc:sldChg>
      <pc:sldChg chg="addSp modSp">
        <pc:chgData name="Young, Andrew N" userId="2b031776-7d42-478c-8563-72e581495ec2" providerId="ADAL" clId="{BCB37101-DD21-41F0-8144-A8E207FE2E90}" dt="2019-03-11T16:28:21.297" v="1930" actId="20577"/>
        <pc:sldMkLst>
          <pc:docMk/>
          <pc:sldMk cId="3241864572" sldId="315"/>
        </pc:sldMkLst>
        <pc:spChg chg="mod">
          <ac:chgData name="Young, Andrew N" userId="2b031776-7d42-478c-8563-72e581495ec2" providerId="ADAL" clId="{BCB37101-DD21-41F0-8144-A8E207FE2E90}" dt="2019-03-11T16:27:57.268" v="1895"/>
          <ac:spMkLst>
            <pc:docMk/>
            <pc:sldMk cId="3241864572" sldId="315"/>
            <ac:spMk id="2" creationId="{00000000-0000-0000-0000-000000000000}"/>
          </ac:spMkLst>
        </pc:spChg>
        <pc:spChg chg="mod">
          <ac:chgData name="Young, Andrew N" userId="2b031776-7d42-478c-8563-72e581495ec2" providerId="ADAL" clId="{BCB37101-DD21-41F0-8144-A8E207FE2E90}" dt="2019-03-11T16:27:23.186" v="1875" actId="1038"/>
          <ac:spMkLst>
            <pc:docMk/>
            <pc:sldMk cId="3241864572" sldId="315"/>
            <ac:spMk id="8" creationId="{00000000-0000-0000-0000-000000000000}"/>
          </ac:spMkLst>
        </pc:spChg>
        <pc:spChg chg="add mod">
          <ac:chgData name="Young, Andrew N" userId="2b031776-7d42-478c-8563-72e581495ec2" providerId="ADAL" clId="{BCB37101-DD21-41F0-8144-A8E207FE2E90}" dt="2019-03-11T16:28:21.297" v="1930" actId="20577"/>
          <ac:spMkLst>
            <pc:docMk/>
            <pc:sldMk cId="3241864572" sldId="315"/>
            <ac:spMk id="9" creationId="{3BBB61E7-7143-438B-B093-7CACC27ABD55}"/>
          </ac:spMkLst>
        </pc:spChg>
        <pc:picChg chg="mod">
          <ac:chgData name="Young, Andrew N" userId="2b031776-7d42-478c-8563-72e581495ec2" providerId="ADAL" clId="{BCB37101-DD21-41F0-8144-A8E207FE2E90}" dt="2019-03-11T16:27:30.092" v="1876" actId="12788"/>
          <ac:picMkLst>
            <pc:docMk/>
            <pc:sldMk cId="3241864572" sldId="315"/>
            <ac:picMk id="5" creationId="{00000000-0000-0000-0000-000000000000}"/>
          </ac:picMkLst>
        </pc:picChg>
      </pc:sldChg>
      <pc:sldChg chg="delSp modSp add">
        <pc:chgData name="Young, Andrew N" userId="2b031776-7d42-478c-8563-72e581495ec2" providerId="ADAL" clId="{BCB37101-DD21-41F0-8144-A8E207FE2E90}" dt="2019-03-09T18:30:50.216" v="751" actId="27636"/>
        <pc:sldMkLst>
          <pc:docMk/>
          <pc:sldMk cId="833000018" sldId="318"/>
        </pc:sldMkLst>
        <pc:spChg chg="mod">
          <ac:chgData name="Young, Andrew N" userId="2b031776-7d42-478c-8563-72e581495ec2" providerId="ADAL" clId="{BCB37101-DD21-41F0-8144-A8E207FE2E90}" dt="2019-03-09T18:22:35.924" v="265" actId="6549"/>
          <ac:spMkLst>
            <pc:docMk/>
            <pc:sldMk cId="833000018" sldId="318"/>
            <ac:spMk id="2" creationId="{00000000-0000-0000-0000-000000000000}"/>
          </ac:spMkLst>
        </pc:spChg>
        <pc:spChg chg="mod">
          <ac:chgData name="Young, Andrew N" userId="2b031776-7d42-478c-8563-72e581495ec2" providerId="ADAL" clId="{BCB37101-DD21-41F0-8144-A8E207FE2E90}" dt="2019-03-09T18:30:50.216" v="751" actId="27636"/>
          <ac:spMkLst>
            <pc:docMk/>
            <pc:sldMk cId="833000018" sldId="318"/>
            <ac:spMk id="5" creationId="{00000000-0000-0000-0000-000000000000}"/>
          </ac:spMkLst>
        </pc:spChg>
        <pc:spChg chg="del">
          <ac:chgData name="Young, Andrew N" userId="2b031776-7d42-478c-8563-72e581495ec2" providerId="ADAL" clId="{BCB37101-DD21-41F0-8144-A8E207FE2E90}" dt="2019-03-09T18:26:32.428" v="714" actId="478"/>
          <ac:spMkLst>
            <pc:docMk/>
            <pc:sldMk cId="833000018" sldId="318"/>
            <ac:spMk id="6" creationId="{00000000-0000-0000-0000-000000000000}"/>
          </ac:spMkLst>
        </pc:spChg>
        <pc:grpChg chg="del">
          <ac:chgData name="Young, Andrew N" userId="2b031776-7d42-478c-8563-72e581495ec2" providerId="ADAL" clId="{BCB37101-DD21-41F0-8144-A8E207FE2E90}" dt="2019-03-09T18:22:47.760" v="266" actId="478"/>
          <ac:grpSpMkLst>
            <pc:docMk/>
            <pc:sldMk cId="833000018" sldId="318"/>
            <ac:grpSpMk id="3" creationId="{00000000-0000-0000-0000-000000000000}"/>
          </ac:grpSpMkLst>
        </pc:grpChg>
      </pc:sldChg>
      <pc:sldChg chg="addSp delSp modSp add ord modAnim">
        <pc:chgData name="Young, Andrew N" userId="2b031776-7d42-478c-8563-72e581495ec2" providerId="ADAL" clId="{BCB37101-DD21-41F0-8144-A8E207FE2E90}" dt="2019-03-11T17:05:29.991" v="2639"/>
        <pc:sldMkLst>
          <pc:docMk/>
          <pc:sldMk cId="4152191742" sldId="319"/>
        </pc:sldMkLst>
        <pc:spChg chg="mod">
          <ac:chgData name="Young, Andrew N" userId="2b031776-7d42-478c-8563-72e581495ec2" providerId="ADAL" clId="{BCB37101-DD21-41F0-8144-A8E207FE2E90}" dt="2019-03-11T16:26:22.073" v="1847" actId="20577"/>
          <ac:spMkLst>
            <pc:docMk/>
            <pc:sldMk cId="4152191742" sldId="319"/>
            <ac:spMk id="2" creationId="{3A40E0D9-3FCE-4184-922F-5CECF152ACB2}"/>
          </ac:spMkLst>
        </pc:spChg>
        <pc:spChg chg="add del">
          <ac:chgData name="Young, Andrew N" userId="2b031776-7d42-478c-8563-72e581495ec2" providerId="ADAL" clId="{BCB37101-DD21-41F0-8144-A8E207FE2E90}" dt="2019-03-09T19:04:58.706" v="1720" actId="478"/>
          <ac:spMkLst>
            <pc:docMk/>
            <pc:sldMk cId="4152191742" sldId="319"/>
            <ac:spMk id="3" creationId="{5BCA4F4C-22FF-4742-998E-E019887C9E0C}"/>
          </ac:spMkLst>
        </pc:spChg>
        <pc:spChg chg="add mod topLvl">
          <ac:chgData name="Young, Andrew N" userId="2b031776-7d42-478c-8563-72e581495ec2" providerId="ADAL" clId="{BCB37101-DD21-41F0-8144-A8E207FE2E90}" dt="2019-03-11T17:05:06.007" v="2635" actId="165"/>
          <ac:spMkLst>
            <pc:docMk/>
            <pc:sldMk cId="4152191742" sldId="319"/>
            <ac:spMk id="9" creationId="{6C8EC94C-E8FE-4EF4-8924-D30ED9E27A7C}"/>
          </ac:spMkLst>
        </pc:spChg>
        <pc:spChg chg="add mod">
          <ac:chgData name="Young, Andrew N" userId="2b031776-7d42-478c-8563-72e581495ec2" providerId="ADAL" clId="{BCB37101-DD21-41F0-8144-A8E207FE2E90}" dt="2019-03-09T18:55:59.179" v="1360" actId="164"/>
          <ac:spMkLst>
            <pc:docMk/>
            <pc:sldMk cId="4152191742" sldId="319"/>
            <ac:spMk id="10" creationId="{E4719A15-492C-4C99-AAF8-D8F9AB2AF6AE}"/>
          </ac:spMkLst>
        </pc:spChg>
        <pc:spChg chg="add mod">
          <ac:chgData name="Young, Andrew N" userId="2b031776-7d42-478c-8563-72e581495ec2" providerId="ADAL" clId="{BCB37101-DD21-41F0-8144-A8E207FE2E90}" dt="2019-03-09T19:03:02.800" v="1681" actId="20577"/>
          <ac:spMkLst>
            <pc:docMk/>
            <pc:sldMk cId="4152191742" sldId="319"/>
            <ac:spMk id="11" creationId="{1D323887-22B5-438C-AD97-193586E6463F}"/>
          </ac:spMkLst>
        </pc:spChg>
        <pc:spChg chg="add del mod">
          <ac:chgData name="Young, Andrew N" userId="2b031776-7d42-478c-8563-72e581495ec2" providerId="ADAL" clId="{BCB37101-DD21-41F0-8144-A8E207FE2E90}" dt="2019-03-09T18:50:11.006" v="1089"/>
          <ac:spMkLst>
            <pc:docMk/>
            <pc:sldMk cId="4152191742" sldId="319"/>
            <ac:spMk id="12" creationId="{BB4FA458-8DD6-47D6-8A93-96A8E51967A1}"/>
          </ac:spMkLst>
        </pc:spChg>
        <pc:spChg chg="add mod">
          <ac:chgData name="Young, Andrew N" userId="2b031776-7d42-478c-8563-72e581495ec2" providerId="ADAL" clId="{BCB37101-DD21-41F0-8144-A8E207FE2E90}" dt="2019-03-09T18:51:50.040" v="1155" actId="164"/>
          <ac:spMkLst>
            <pc:docMk/>
            <pc:sldMk cId="4152191742" sldId="319"/>
            <ac:spMk id="13" creationId="{4D199090-BD1B-4E1E-B00F-52C9A4252F0F}"/>
          </ac:spMkLst>
        </pc:spChg>
        <pc:spChg chg="add mod">
          <ac:chgData name="Young, Andrew N" userId="2b031776-7d42-478c-8563-72e581495ec2" providerId="ADAL" clId="{BCB37101-DD21-41F0-8144-A8E207FE2E90}" dt="2019-03-09T18:54:33.978" v="1310" actId="164"/>
          <ac:spMkLst>
            <pc:docMk/>
            <pc:sldMk cId="4152191742" sldId="319"/>
            <ac:spMk id="15" creationId="{076C0296-248F-42B5-897A-22E0F08FA953}"/>
          </ac:spMkLst>
        </pc:spChg>
        <pc:spChg chg="add mod">
          <ac:chgData name="Young, Andrew N" userId="2b031776-7d42-478c-8563-72e581495ec2" providerId="ADAL" clId="{BCB37101-DD21-41F0-8144-A8E207FE2E90}" dt="2019-03-09T18:54:33.978" v="1310" actId="164"/>
          <ac:spMkLst>
            <pc:docMk/>
            <pc:sldMk cId="4152191742" sldId="319"/>
            <ac:spMk id="16" creationId="{E7D1802B-2804-4E85-AEFE-A5805BF72DB1}"/>
          </ac:spMkLst>
        </pc:spChg>
        <pc:spChg chg="add mod">
          <ac:chgData name="Young, Andrew N" userId="2b031776-7d42-478c-8563-72e581495ec2" providerId="ADAL" clId="{BCB37101-DD21-41F0-8144-A8E207FE2E90}" dt="2019-03-09T18:55:59.179" v="1360" actId="164"/>
          <ac:spMkLst>
            <pc:docMk/>
            <pc:sldMk cId="4152191742" sldId="319"/>
            <ac:spMk id="18" creationId="{CFC38D98-02F2-4945-8311-5123D58D2247}"/>
          </ac:spMkLst>
        </pc:spChg>
        <pc:spChg chg="add mod">
          <ac:chgData name="Young, Andrew N" userId="2b031776-7d42-478c-8563-72e581495ec2" providerId="ADAL" clId="{BCB37101-DD21-41F0-8144-A8E207FE2E90}" dt="2019-03-09T18:55:59.179" v="1360" actId="164"/>
          <ac:spMkLst>
            <pc:docMk/>
            <pc:sldMk cId="4152191742" sldId="319"/>
            <ac:spMk id="19" creationId="{9B1488D2-003A-4ECE-B330-5CE0E4202056}"/>
          </ac:spMkLst>
        </pc:spChg>
        <pc:spChg chg="add mod topLvl">
          <ac:chgData name="Young, Andrew N" userId="2b031776-7d42-478c-8563-72e581495ec2" providerId="ADAL" clId="{BCB37101-DD21-41F0-8144-A8E207FE2E90}" dt="2019-03-11T17:05:14.674" v="2636" actId="165"/>
          <ac:spMkLst>
            <pc:docMk/>
            <pc:sldMk cId="4152191742" sldId="319"/>
            <ac:spMk id="21" creationId="{E1726639-5468-4FBD-BCCE-6BC8478BB4EC}"/>
          </ac:spMkLst>
        </pc:spChg>
        <pc:spChg chg="add mod topLvl">
          <ac:chgData name="Young, Andrew N" userId="2b031776-7d42-478c-8563-72e581495ec2" providerId="ADAL" clId="{BCB37101-DD21-41F0-8144-A8E207FE2E90}" dt="2019-03-11T17:05:06.007" v="2635" actId="165"/>
          <ac:spMkLst>
            <pc:docMk/>
            <pc:sldMk cId="4152191742" sldId="319"/>
            <ac:spMk id="22" creationId="{A0B4C9A2-A236-447A-993F-103370F568DD}"/>
          </ac:spMkLst>
        </pc:spChg>
        <pc:spChg chg="add mod topLvl">
          <ac:chgData name="Young, Andrew N" userId="2b031776-7d42-478c-8563-72e581495ec2" providerId="ADAL" clId="{BCB37101-DD21-41F0-8144-A8E207FE2E90}" dt="2019-03-11T17:05:06.007" v="2635" actId="165"/>
          <ac:spMkLst>
            <pc:docMk/>
            <pc:sldMk cId="4152191742" sldId="319"/>
            <ac:spMk id="23" creationId="{3C26CE23-F6CD-4185-B2DA-3F8853DCD8B3}"/>
          </ac:spMkLst>
        </pc:spChg>
        <pc:spChg chg="add mod topLvl">
          <ac:chgData name="Young, Andrew N" userId="2b031776-7d42-478c-8563-72e581495ec2" providerId="ADAL" clId="{BCB37101-DD21-41F0-8144-A8E207FE2E90}" dt="2019-03-11T17:05:14.674" v="2636" actId="165"/>
          <ac:spMkLst>
            <pc:docMk/>
            <pc:sldMk cId="4152191742" sldId="319"/>
            <ac:spMk id="24" creationId="{9C7251E6-858A-4700-857F-4419D74079F0}"/>
          </ac:spMkLst>
        </pc:spChg>
        <pc:spChg chg="add mod topLvl">
          <ac:chgData name="Young, Andrew N" userId="2b031776-7d42-478c-8563-72e581495ec2" providerId="ADAL" clId="{BCB37101-DD21-41F0-8144-A8E207FE2E90}" dt="2019-03-11T17:05:23.155" v="2637" actId="164"/>
          <ac:spMkLst>
            <pc:docMk/>
            <pc:sldMk cId="4152191742" sldId="319"/>
            <ac:spMk id="25" creationId="{4B13FB65-7C9A-4A27-81D4-EE411DE2D0B8}"/>
          </ac:spMkLst>
        </pc:spChg>
        <pc:spChg chg="add mod topLvl">
          <ac:chgData name="Young, Andrew N" userId="2b031776-7d42-478c-8563-72e581495ec2" providerId="ADAL" clId="{BCB37101-DD21-41F0-8144-A8E207FE2E90}" dt="2019-03-11T17:05:23.155" v="2637" actId="164"/>
          <ac:spMkLst>
            <pc:docMk/>
            <pc:sldMk cId="4152191742" sldId="319"/>
            <ac:spMk id="26" creationId="{CA0C2D73-6B96-4899-B31D-BED8C982EA4D}"/>
          </ac:spMkLst>
        </pc:spChg>
        <pc:spChg chg="add mod topLvl">
          <ac:chgData name="Young, Andrew N" userId="2b031776-7d42-478c-8563-72e581495ec2" providerId="ADAL" clId="{BCB37101-DD21-41F0-8144-A8E207FE2E90}" dt="2019-03-11T17:04:43.530" v="2632" actId="165"/>
          <ac:spMkLst>
            <pc:docMk/>
            <pc:sldMk cId="4152191742" sldId="319"/>
            <ac:spMk id="34" creationId="{66A47EA6-1F44-4339-94CC-24CAD278C4B7}"/>
          </ac:spMkLst>
        </pc:spChg>
        <pc:spChg chg="add mod">
          <ac:chgData name="Young, Andrew N" userId="2b031776-7d42-478c-8563-72e581495ec2" providerId="ADAL" clId="{BCB37101-DD21-41F0-8144-A8E207FE2E90}" dt="2019-03-11T17:05:23.155" v="2637" actId="164"/>
          <ac:spMkLst>
            <pc:docMk/>
            <pc:sldMk cId="4152191742" sldId="319"/>
            <ac:spMk id="36" creationId="{9C9C1794-4931-4FFF-8704-E37AA0002BF6}"/>
          </ac:spMkLst>
        </pc:spChg>
        <pc:spChg chg="add mod">
          <ac:chgData name="Young, Andrew N" userId="2b031776-7d42-478c-8563-72e581495ec2" providerId="ADAL" clId="{BCB37101-DD21-41F0-8144-A8E207FE2E90}" dt="2019-03-11T16:34:19.064" v="2001" actId="20577"/>
          <ac:spMkLst>
            <pc:docMk/>
            <pc:sldMk cId="4152191742" sldId="319"/>
            <ac:spMk id="37" creationId="{E69013FC-78B8-4F86-BECA-6F2CF3733AD9}"/>
          </ac:spMkLst>
        </pc:spChg>
        <pc:grpChg chg="add mod">
          <ac:chgData name="Young, Andrew N" userId="2b031776-7d42-478c-8563-72e581495ec2" providerId="ADAL" clId="{BCB37101-DD21-41F0-8144-A8E207FE2E90}" dt="2019-03-11T17:04:20.888" v="2591" actId="164"/>
          <ac:grpSpMkLst>
            <pc:docMk/>
            <pc:sldMk cId="4152191742" sldId="319"/>
            <ac:grpSpMk id="3" creationId="{E74A31EC-A013-4F35-8226-B53071E282A9}"/>
          </ac:grpSpMkLst>
        </pc:grpChg>
        <pc:grpChg chg="add mod">
          <ac:chgData name="Young, Andrew N" userId="2b031776-7d42-478c-8563-72e581495ec2" providerId="ADAL" clId="{BCB37101-DD21-41F0-8144-A8E207FE2E90}" dt="2019-03-11T17:05:23.155" v="2637" actId="164"/>
          <ac:grpSpMkLst>
            <pc:docMk/>
            <pc:sldMk cId="4152191742" sldId="319"/>
            <ac:grpSpMk id="12" creationId="{6100C17F-DF19-4431-8B2B-C1C048838AAE}"/>
          </ac:grpSpMkLst>
        </pc:grpChg>
        <pc:grpChg chg="add mod">
          <ac:chgData name="Young, Andrew N" userId="2b031776-7d42-478c-8563-72e581495ec2" providerId="ADAL" clId="{BCB37101-DD21-41F0-8144-A8E207FE2E90}" dt="2019-03-09T19:06:06.017" v="1734" actId="12788"/>
          <ac:grpSpMkLst>
            <pc:docMk/>
            <pc:sldMk cId="4152191742" sldId="319"/>
            <ac:grpSpMk id="14" creationId="{E51E57A1-9C3C-4A29-AFA2-86B3BE7889FC}"/>
          </ac:grpSpMkLst>
        </pc:grpChg>
        <pc:grpChg chg="add mod topLvl">
          <ac:chgData name="Young, Andrew N" userId="2b031776-7d42-478c-8563-72e581495ec2" providerId="ADAL" clId="{BCB37101-DD21-41F0-8144-A8E207FE2E90}" dt="2019-03-11T17:04:59.112" v="2634" actId="165"/>
          <ac:grpSpMkLst>
            <pc:docMk/>
            <pc:sldMk cId="4152191742" sldId="319"/>
            <ac:grpSpMk id="17" creationId="{D07729D7-697F-4285-87BC-DDE26F2398B0}"/>
          </ac:grpSpMkLst>
        </pc:grpChg>
        <pc:grpChg chg="add mod topLvl">
          <ac:chgData name="Young, Andrew N" userId="2b031776-7d42-478c-8563-72e581495ec2" providerId="ADAL" clId="{BCB37101-DD21-41F0-8144-A8E207FE2E90}" dt="2019-03-11T17:05:14.674" v="2636" actId="165"/>
          <ac:grpSpMkLst>
            <pc:docMk/>
            <pc:sldMk cId="4152191742" sldId="319"/>
            <ac:grpSpMk id="20" creationId="{2D79357D-C931-4B22-8203-8B4D63F09C04}"/>
          </ac:grpSpMkLst>
        </pc:grpChg>
        <pc:grpChg chg="add del mod topLvl">
          <ac:chgData name="Young, Andrew N" userId="2b031776-7d42-478c-8563-72e581495ec2" providerId="ADAL" clId="{BCB37101-DD21-41F0-8144-A8E207FE2E90}" dt="2019-03-11T17:05:14.674" v="2636" actId="165"/>
          <ac:grpSpMkLst>
            <pc:docMk/>
            <pc:sldMk cId="4152191742" sldId="319"/>
            <ac:grpSpMk id="27" creationId="{E29AFA0E-9436-431D-856F-DD6103D8C713}"/>
          </ac:grpSpMkLst>
        </pc:grpChg>
        <pc:grpChg chg="add del mod topLvl">
          <ac:chgData name="Young, Andrew N" userId="2b031776-7d42-478c-8563-72e581495ec2" providerId="ADAL" clId="{BCB37101-DD21-41F0-8144-A8E207FE2E90}" dt="2019-03-11T17:05:06.007" v="2635" actId="165"/>
          <ac:grpSpMkLst>
            <pc:docMk/>
            <pc:sldMk cId="4152191742" sldId="319"/>
            <ac:grpSpMk id="28" creationId="{D764AC6D-545D-4BEC-83BF-D4AC0B026D1C}"/>
          </ac:grpSpMkLst>
        </pc:grpChg>
        <pc:grpChg chg="add del mod">
          <ac:chgData name="Young, Andrew N" userId="2b031776-7d42-478c-8563-72e581495ec2" providerId="ADAL" clId="{BCB37101-DD21-41F0-8144-A8E207FE2E90}" dt="2019-03-09T19:01:39.775" v="1669" actId="165"/>
          <ac:grpSpMkLst>
            <pc:docMk/>
            <pc:sldMk cId="4152191742" sldId="319"/>
            <ac:grpSpMk id="29" creationId="{186901E1-B65C-49AA-9514-50BE3B162A9E}"/>
          </ac:grpSpMkLst>
        </pc:grpChg>
        <pc:grpChg chg="add del mod topLvl">
          <ac:chgData name="Young, Andrew N" userId="2b031776-7d42-478c-8563-72e581495ec2" providerId="ADAL" clId="{BCB37101-DD21-41F0-8144-A8E207FE2E90}" dt="2019-03-11T17:04:59.112" v="2634" actId="165"/>
          <ac:grpSpMkLst>
            <pc:docMk/>
            <pc:sldMk cId="4152191742" sldId="319"/>
            <ac:grpSpMk id="30" creationId="{1AF8121F-36C1-4837-A8A7-C65734A77310}"/>
          </ac:grpSpMkLst>
        </pc:grpChg>
        <pc:grpChg chg="add del mod topLvl">
          <ac:chgData name="Young, Andrew N" userId="2b031776-7d42-478c-8563-72e581495ec2" providerId="ADAL" clId="{BCB37101-DD21-41F0-8144-A8E207FE2E90}" dt="2019-03-11T17:04:49.995" v="2633" actId="165"/>
          <ac:grpSpMkLst>
            <pc:docMk/>
            <pc:sldMk cId="4152191742" sldId="319"/>
            <ac:grpSpMk id="33" creationId="{28F03461-81F8-45EE-8346-133EF91CBFEC}"/>
          </ac:grpSpMkLst>
        </pc:grpChg>
        <pc:grpChg chg="add del mod">
          <ac:chgData name="Young, Andrew N" userId="2b031776-7d42-478c-8563-72e581495ec2" providerId="ADAL" clId="{BCB37101-DD21-41F0-8144-A8E207FE2E90}" dt="2019-03-11T17:04:43.530" v="2632" actId="165"/>
          <ac:grpSpMkLst>
            <pc:docMk/>
            <pc:sldMk cId="4152191742" sldId="319"/>
            <ac:grpSpMk id="35" creationId="{044CBF3F-1C0C-45F0-9712-56A85A63438D}"/>
          </ac:grpSpMkLst>
        </pc:grpChg>
        <pc:picChg chg="add mod topLvl modCrop">
          <ac:chgData name="Young, Andrew N" userId="2b031776-7d42-478c-8563-72e581495ec2" providerId="ADAL" clId="{BCB37101-DD21-41F0-8144-A8E207FE2E90}" dt="2019-03-11T17:05:06.007" v="2635" actId="165"/>
          <ac:picMkLst>
            <pc:docMk/>
            <pc:sldMk cId="4152191742" sldId="319"/>
            <ac:picMk id="5" creationId="{79A3BA63-64C8-4675-BA4C-C94FEAA6EA84}"/>
          </ac:picMkLst>
        </pc:picChg>
        <pc:picChg chg="add mod">
          <ac:chgData name="Young, Andrew N" userId="2b031776-7d42-478c-8563-72e581495ec2" providerId="ADAL" clId="{BCB37101-DD21-41F0-8144-A8E207FE2E90}" dt="2019-03-11T16:25:56.047" v="1833"/>
          <ac:picMkLst>
            <pc:docMk/>
            <pc:sldMk cId="4152191742" sldId="319"/>
            <ac:picMk id="6" creationId="{D85AF55E-A2F0-47EB-A50C-FAE1312A2E8D}"/>
          </ac:picMkLst>
        </pc:picChg>
        <pc:picChg chg="add mod modCrop">
          <ac:chgData name="Young, Andrew N" userId="2b031776-7d42-478c-8563-72e581495ec2" providerId="ADAL" clId="{BCB37101-DD21-41F0-8144-A8E207FE2E90}" dt="2019-03-09T18:53:34.440" v="1233" actId="732"/>
          <ac:picMkLst>
            <pc:docMk/>
            <pc:sldMk cId="4152191742" sldId="319"/>
            <ac:picMk id="7" creationId="{82B8A556-8AC5-49F5-A175-9A24E7BA82DD}"/>
          </ac:picMkLst>
        </pc:picChg>
        <pc:picChg chg="add mod modCrop">
          <ac:chgData name="Young, Andrew N" userId="2b031776-7d42-478c-8563-72e581495ec2" providerId="ADAL" clId="{BCB37101-DD21-41F0-8144-A8E207FE2E90}" dt="2019-03-09T18:53:50.590" v="1237" actId="732"/>
          <ac:picMkLst>
            <pc:docMk/>
            <pc:sldMk cId="4152191742" sldId="319"/>
            <ac:picMk id="8" creationId="{854F0F33-1FB9-4E90-8289-2C7D0A978152}"/>
          </ac:picMkLst>
        </pc:picChg>
        <pc:cxnChg chg="add mod topLvl">
          <ac:chgData name="Young, Andrew N" userId="2b031776-7d42-478c-8563-72e581495ec2" providerId="ADAL" clId="{BCB37101-DD21-41F0-8144-A8E207FE2E90}" dt="2019-03-11T17:04:49.995" v="2633" actId="165"/>
          <ac:cxnSpMkLst>
            <pc:docMk/>
            <pc:sldMk cId="4152191742" sldId="319"/>
            <ac:cxnSpMk id="32" creationId="{E18D9043-805B-4480-93F7-D2AE9313FFFF}"/>
          </ac:cxnSpMkLst>
        </pc:cxnChg>
        <pc:cxnChg chg="add mod">
          <ac:chgData name="Young, Andrew N" userId="2b031776-7d42-478c-8563-72e581495ec2" providerId="ADAL" clId="{BCB37101-DD21-41F0-8144-A8E207FE2E90}" dt="2019-03-11T17:02:57.443" v="2544" actId="692"/>
          <ac:cxnSpMkLst>
            <pc:docMk/>
            <pc:sldMk cId="4152191742" sldId="319"/>
            <ac:cxnSpMk id="38" creationId="{1BF83D1E-5450-41C2-84CC-75210BE61DBC}"/>
          </ac:cxnSpMkLst>
        </pc:cxnChg>
        <pc:cxnChg chg="add mod">
          <ac:chgData name="Young, Andrew N" userId="2b031776-7d42-478c-8563-72e581495ec2" providerId="ADAL" clId="{BCB37101-DD21-41F0-8144-A8E207FE2E90}" dt="2019-03-11T17:04:29.318" v="2631" actId="1038"/>
          <ac:cxnSpMkLst>
            <pc:docMk/>
            <pc:sldMk cId="4152191742" sldId="319"/>
            <ac:cxnSpMk id="39" creationId="{EFAADF5A-79C3-4446-AFCD-4FD73A63A30E}"/>
          </ac:cxnSpMkLst>
        </pc:cxnChg>
      </pc:sldChg>
      <pc:sldChg chg="addSp delSp modSp add modAnim">
        <pc:chgData name="Young, Andrew N" userId="2b031776-7d42-478c-8563-72e581495ec2" providerId="ADAL" clId="{BCB37101-DD21-41F0-8144-A8E207FE2E90}" dt="2019-03-12T02:20:17.465" v="3666"/>
        <pc:sldMkLst>
          <pc:docMk/>
          <pc:sldMk cId="3021431467" sldId="320"/>
        </pc:sldMkLst>
        <pc:spChg chg="add mod">
          <ac:chgData name="Young, Andrew N" userId="2b031776-7d42-478c-8563-72e581495ec2" providerId="ADAL" clId="{BCB37101-DD21-41F0-8144-A8E207FE2E90}" dt="2019-03-12T02:20:12.272" v="3665" actId="164"/>
          <ac:spMkLst>
            <pc:docMk/>
            <pc:sldMk cId="3021431467" sldId="320"/>
            <ac:spMk id="3" creationId="{BFA7948D-E99A-4283-A065-E825EF93A86E}"/>
          </ac:spMkLst>
        </pc:spChg>
        <pc:spChg chg="add mod">
          <ac:chgData name="Young, Andrew N" userId="2b031776-7d42-478c-8563-72e581495ec2" providerId="ADAL" clId="{BCB37101-DD21-41F0-8144-A8E207FE2E90}" dt="2019-03-12T02:20:12.272" v="3665" actId="164"/>
          <ac:spMkLst>
            <pc:docMk/>
            <pc:sldMk cId="3021431467" sldId="320"/>
            <ac:spMk id="5" creationId="{B00C5070-9DF9-4E19-BF9E-4721F01A83D5}"/>
          </ac:spMkLst>
        </pc:spChg>
        <pc:spChg chg="add mod">
          <ac:chgData name="Young, Andrew N" userId="2b031776-7d42-478c-8563-72e581495ec2" providerId="ADAL" clId="{BCB37101-DD21-41F0-8144-A8E207FE2E90}" dt="2019-03-12T02:20:12.272" v="3665" actId="164"/>
          <ac:spMkLst>
            <pc:docMk/>
            <pc:sldMk cId="3021431467" sldId="320"/>
            <ac:spMk id="6" creationId="{45BF1ED5-280D-4553-B6BF-C0AD1E613444}"/>
          </ac:spMkLst>
        </pc:spChg>
        <pc:spChg chg="mod topLvl">
          <ac:chgData name="Young, Andrew N" userId="2b031776-7d42-478c-8563-72e581495ec2" providerId="ADAL" clId="{BCB37101-DD21-41F0-8144-A8E207FE2E90}" dt="2019-03-11T17:06:35.556" v="2674" actId="165"/>
          <ac:spMkLst>
            <pc:docMk/>
            <pc:sldMk cId="3021431467" sldId="320"/>
            <ac:spMk id="9" creationId="{6C8EC94C-E8FE-4EF4-8924-D30ED9E27A7C}"/>
          </ac:spMkLst>
        </pc:spChg>
        <pc:spChg chg="mod">
          <ac:chgData name="Young, Andrew N" userId="2b031776-7d42-478c-8563-72e581495ec2" providerId="ADAL" clId="{BCB37101-DD21-41F0-8144-A8E207FE2E90}" dt="2019-03-11T16:53:23.313" v="2446" actId="6549"/>
          <ac:spMkLst>
            <pc:docMk/>
            <pc:sldMk cId="3021431467" sldId="320"/>
            <ac:spMk id="13" creationId="{4D199090-BD1B-4E1E-B00F-52C9A4252F0F}"/>
          </ac:spMkLst>
        </pc:spChg>
        <pc:spChg chg="mod topLvl">
          <ac:chgData name="Young, Andrew N" userId="2b031776-7d42-478c-8563-72e581495ec2" providerId="ADAL" clId="{BCB37101-DD21-41F0-8144-A8E207FE2E90}" dt="2019-03-11T17:06:35.556" v="2674" actId="165"/>
          <ac:spMkLst>
            <pc:docMk/>
            <pc:sldMk cId="3021431467" sldId="320"/>
            <ac:spMk id="15" creationId="{076C0296-248F-42B5-897A-22E0F08FA953}"/>
          </ac:spMkLst>
        </pc:spChg>
        <pc:spChg chg="mod topLvl">
          <ac:chgData name="Young, Andrew N" userId="2b031776-7d42-478c-8563-72e581495ec2" providerId="ADAL" clId="{BCB37101-DD21-41F0-8144-A8E207FE2E90}" dt="2019-03-11T17:06:35.556" v="2674" actId="165"/>
          <ac:spMkLst>
            <pc:docMk/>
            <pc:sldMk cId="3021431467" sldId="320"/>
            <ac:spMk id="16" creationId="{E7D1802B-2804-4E85-AEFE-A5805BF72DB1}"/>
          </ac:spMkLst>
        </pc:spChg>
        <pc:spChg chg="del">
          <ac:chgData name="Young, Andrew N" userId="2b031776-7d42-478c-8563-72e581495ec2" providerId="ADAL" clId="{BCB37101-DD21-41F0-8144-A8E207FE2E90}" dt="2019-03-11T16:44:04.381" v="2258" actId="478"/>
          <ac:spMkLst>
            <pc:docMk/>
            <pc:sldMk cId="3021431467" sldId="320"/>
            <ac:spMk id="21" creationId="{E1726639-5468-4FBD-BCCE-6BC8478BB4EC}"/>
          </ac:spMkLst>
        </pc:spChg>
        <pc:spChg chg="mod ord topLvl">
          <ac:chgData name="Young, Andrew N" userId="2b031776-7d42-478c-8563-72e581495ec2" providerId="ADAL" clId="{BCB37101-DD21-41F0-8144-A8E207FE2E90}" dt="2019-03-11T17:06:35.556" v="2674" actId="165"/>
          <ac:spMkLst>
            <pc:docMk/>
            <pc:sldMk cId="3021431467" sldId="320"/>
            <ac:spMk id="22" creationId="{A0B4C9A2-A236-447A-993F-103370F568DD}"/>
          </ac:spMkLst>
        </pc:spChg>
        <pc:spChg chg="mod topLvl">
          <ac:chgData name="Young, Andrew N" userId="2b031776-7d42-478c-8563-72e581495ec2" providerId="ADAL" clId="{BCB37101-DD21-41F0-8144-A8E207FE2E90}" dt="2019-03-12T02:19:36.017" v="3638"/>
          <ac:spMkLst>
            <pc:docMk/>
            <pc:sldMk cId="3021431467" sldId="320"/>
            <ac:spMk id="23" creationId="{3C26CE23-F6CD-4185-B2DA-3F8853DCD8B3}"/>
          </ac:spMkLst>
        </pc:spChg>
        <pc:spChg chg="mod ord topLvl">
          <ac:chgData name="Young, Andrew N" userId="2b031776-7d42-478c-8563-72e581495ec2" providerId="ADAL" clId="{BCB37101-DD21-41F0-8144-A8E207FE2E90}" dt="2019-03-11T17:06:35.556" v="2674" actId="165"/>
          <ac:spMkLst>
            <pc:docMk/>
            <pc:sldMk cId="3021431467" sldId="320"/>
            <ac:spMk id="24" creationId="{9C7251E6-858A-4700-857F-4419D74079F0}"/>
          </ac:spMkLst>
        </pc:spChg>
        <pc:spChg chg="mod topLvl">
          <ac:chgData name="Young, Andrew N" userId="2b031776-7d42-478c-8563-72e581495ec2" providerId="ADAL" clId="{BCB37101-DD21-41F0-8144-A8E207FE2E90}" dt="2019-03-12T02:18:47.237" v="3634"/>
          <ac:spMkLst>
            <pc:docMk/>
            <pc:sldMk cId="3021431467" sldId="320"/>
            <ac:spMk id="25" creationId="{4B13FB65-7C9A-4A27-81D4-EE411DE2D0B8}"/>
          </ac:spMkLst>
        </pc:spChg>
        <pc:spChg chg="del">
          <ac:chgData name="Young, Andrew N" userId="2b031776-7d42-478c-8563-72e581495ec2" providerId="ADAL" clId="{BCB37101-DD21-41F0-8144-A8E207FE2E90}" dt="2019-03-11T16:44:00.508" v="2257" actId="478"/>
          <ac:spMkLst>
            <pc:docMk/>
            <pc:sldMk cId="3021431467" sldId="320"/>
            <ac:spMk id="26" creationId="{CA0C2D73-6B96-4899-B31D-BED8C982EA4D}"/>
          </ac:spMkLst>
        </pc:spChg>
        <pc:spChg chg="mod topLvl">
          <ac:chgData name="Young, Andrew N" userId="2b031776-7d42-478c-8563-72e581495ec2" providerId="ADAL" clId="{BCB37101-DD21-41F0-8144-A8E207FE2E90}" dt="2019-03-11T17:06:28.851" v="2671" actId="165"/>
          <ac:spMkLst>
            <pc:docMk/>
            <pc:sldMk cId="3021431467" sldId="320"/>
            <ac:spMk id="34" creationId="{66A47EA6-1F44-4339-94CC-24CAD278C4B7}"/>
          </ac:spMkLst>
        </pc:spChg>
        <pc:spChg chg="mod">
          <ac:chgData name="Young, Andrew N" userId="2b031776-7d42-478c-8563-72e581495ec2" providerId="ADAL" clId="{BCB37101-DD21-41F0-8144-A8E207FE2E90}" dt="2019-03-11T17:07:21.810" v="2720" actId="164"/>
          <ac:spMkLst>
            <pc:docMk/>
            <pc:sldMk cId="3021431467" sldId="320"/>
            <ac:spMk id="36" creationId="{9C9C1794-4931-4FFF-8704-E37AA0002BF6}"/>
          </ac:spMkLst>
        </pc:spChg>
        <pc:spChg chg="add del mod">
          <ac:chgData name="Young, Andrew N" userId="2b031776-7d42-478c-8563-72e581495ec2" providerId="ADAL" clId="{BCB37101-DD21-41F0-8144-A8E207FE2E90}" dt="2019-03-11T16:35:24.399" v="2011" actId="478"/>
          <ac:spMkLst>
            <pc:docMk/>
            <pc:sldMk cId="3021431467" sldId="320"/>
            <ac:spMk id="37" creationId="{45C95E74-70BF-4C93-856C-3361C12FAB74}"/>
          </ac:spMkLst>
        </pc:spChg>
        <pc:spChg chg="add mod">
          <ac:chgData name="Young, Andrew N" userId="2b031776-7d42-478c-8563-72e581495ec2" providerId="ADAL" clId="{BCB37101-DD21-41F0-8144-A8E207FE2E90}" dt="2019-03-11T16:43:22.605" v="2251" actId="554"/>
          <ac:spMkLst>
            <pc:docMk/>
            <pc:sldMk cId="3021431467" sldId="320"/>
            <ac:spMk id="39" creationId="{939D99C8-AA18-40AE-82D5-9AAFCC1A79E0}"/>
          </ac:spMkLst>
        </pc:spChg>
        <pc:spChg chg="add mod">
          <ac:chgData name="Young, Andrew N" userId="2b031776-7d42-478c-8563-72e581495ec2" providerId="ADAL" clId="{BCB37101-DD21-41F0-8144-A8E207FE2E90}" dt="2019-03-11T17:07:21.810" v="2720" actId="164"/>
          <ac:spMkLst>
            <pc:docMk/>
            <pc:sldMk cId="3021431467" sldId="320"/>
            <ac:spMk id="40" creationId="{07B22B7D-1783-4186-9E24-626E9ED7CD27}"/>
          </ac:spMkLst>
        </pc:spChg>
        <pc:spChg chg="add mod">
          <ac:chgData name="Young, Andrew N" userId="2b031776-7d42-478c-8563-72e581495ec2" providerId="ADAL" clId="{BCB37101-DD21-41F0-8144-A8E207FE2E90}" dt="2019-03-11T17:07:21.810" v="2720" actId="164"/>
          <ac:spMkLst>
            <pc:docMk/>
            <pc:sldMk cId="3021431467" sldId="320"/>
            <ac:spMk id="43" creationId="{C9581475-8882-44B5-BE7A-0BE157BF766B}"/>
          </ac:spMkLst>
        </pc:spChg>
        <pc:grpChg chg="add mod">
          <ac:chgData name="Young, Andrew N" userId="2b031776-7d42-478c-8563-72e581495ec2" providerId="ADAL" clId="{BCB37101-DD21-41F0-8144-A8E207FE2E90}" dt="2019-03-12T02:20:12.272" v="3665" actId="164"/>
          <ac:grpSpMkLst>
            <pc:docMk/>
            <pc:sldMk cId="3021431467" sldId="320"/>
            <ac:grpSpMk id="7" creationId="{A51C6D71-0A7A-406F-9705-277806E09E45}"/>
          </ac:grpSpMkLst>
        </pc:grpChg>
        <pc:grpChg chg="mod topLvl">
          <ac:chgData name="Young, Andrew N" userId="2b031776-7d42-478c-8563-72e581495ec2" providerId="ADAL" clId="{BCB37101-DD21-41F0-8144-A8E207FE2E90}" dt="2019-03-11T17:06:35.556" v="2674" actId="165"/>
          <ac:grpSpMkLst>
            <pc:docMk/>
            <pc:sldMk cId="3021431467" sldId="320"/>
            <ac:grpSpMk id="14" creationId="{E51E57A1-9C3C-4A29-AFA2-86B3BE7889FC}"/>
          </ac:grpSpMkLst>
        </pc:grpChg>
        <pc:grpChg chg="del mod topLvl">
          <ac:chgData name="Young, Andrew N" userId="2b031776-7d42-478c-8563-72e581495ec2" providerId="ADAL" clId="{BCB37101-DD21-41F0-8144-A8E207FE2E90}" dt="2019-03-11T17:06:35.556" v="2674" actId="165"/>
          <ac:grpSpMkLst>
            <pc:docMk/>
            <pc:sldMk cId="3021431467" sldId="320"/>
            <ac:grpSpMk id="17" creationId="{D07729D7-697F-4285-87BC-DDE26F2398B0}"/>
          </ac:grpSpMkLst>
        </pc:grpChg>
        <pc:grpChg chg="mod topLvl">
          <ac:chgData name="Young, Andrew N" userId="2b031776-7d42-478c-8563-72e581495ec2" providerId="ADAL" clId="{BCB37101-DD21-41F0-8144-A8E207FE2E90}" dt="2019-03-11T17:06:35.556" v="2674" actId="165"/>
          <ac:grpSpMkLst>
            <pc:docMk/>
            <pc:sldMk cId="3021431467" sldId="320"/>
            <ac:grpSpMk id="20" creationId="{2D79357D-C931-4B22-8203-8B4D63F09C04}"/>
          </ac:grpSpMkLst>
        </pc:grpChg>
        <pc:grpChg chg="del mod topLvl">
          <ac:chgData name="Young, Andrew N" userId="2b031776-7d42-478c-8563-72e581495ec2" providerId="ADAL" clId="{BCB37101-DD21-41F0-8144-A8E207FE2E90}" dt="2019-03-11T17:06:35.556" v="2674" actId="165"/>
          <ac:grpSpMkLst>
            <pc:docMk/>
            <pc:sldMk cId="3021431467" sldId="320"/>
            <ac:grpSpMk id="27" creationId="{E29AFA0E-9436-431D-856F-DD6103D8C713}"/>
          </ac:grpSpMkLst>
        </pc:grpChg>
        <pc:grpChg chg="del mod topLvl">
          <ac:chgData name="Young, Andrew N" userId="2b031776-7d42-478c-8563-72e581495ec2" providerId="ADAL" clId="{BCB37101-DD21-41F0-8144-A8E207FE2E90}" dt="2019-03-11T17:06:35.556" v="2674" actId="165"/>
          <ac:grpSpMkLst>
            <pc:docMk/>
            <pc:sldMk cId="3021431467" sldId="320"/>
            <ac:grpSpMk id="28" creationId="{D764AC6D-545D-4BEC-83BF-D4AC0B026D1C}"/>
          </ac:grpSpMkLst>
        </pc:grpChg>
        <pc:grpChg chg="del mod topLvl">
          <ac:chgData name="Young, Andrew N" userId="2b031776-7d42-478c-8563-72e581495ec2" providerId="ADAL" clId="{BCB37101-DD21-41F0-8144-A8E207FE2E90}" dt="2019-03-11T17:06:32.954" v="2673" actId="165"/>
          <ac:grpSpMkLst>
            <pc:docMk/>
            <pc:sldMk cId="3021431467" sldId="320"/>
            <ac:grpSpMk id="30" creationId="{1AF8121F-36C1-4837-A8A7-C65734A77310}"/>
          </ac:grpSpMkLst>
        </pc:grpChg>
        <pc:grpChg chg="del mod topLvl">
          <ac:chgData name="Young, Andrew N" userId="2b031776-7d42-478c-8563-72e581495ec2" providerId="ADAL" clId="{BCB37101-DD21-41F0-8144-A8E207FE2E90}" dt="2019-03-11T17:06:30.923" v="2672" actId="165"/>
          <ac:grpSpMkLst>
            <pc:docMk/>
            <pc:sldMk cId="3021431467" sldId="320"/>
            <ac:grpSpMk id="33" creationId="{28F03461-81F8-45EE-8346-133EF91CBFEC}"/>
          </ac:grpSpMkLst>
        </pc:grpChg>
        <pc:grpChg chg="del mod">
          <ac:chgData name="Young, Andrew N" userId="2b031776-7d42-478c-8563-72e581495ec2" providerId="ADAL" clId="{BCB37101-DD21-41F0-8144-A8E207FE2E90}" dt="2019-03-11T17:06:28.851" v="2671" actId="165"/>
          <ac:grpSpMkLst>
            <pc:docMk/>
            <pc:sldMk cId="3021431467" sldId="320"/>
            <ac:grpSpMk id="35" creationId="{044CBF3F-1C0C-45F0-9712-56A85A63438D}"/>
          </ac:grpSpMkLst>
        </pc:grpChg>
        <pc:grpChg chg="add mod">
          <ac:chgData name="Young, Andrew N" userId="2b031776-7d42-478c-8563-72e581495ec2" providerId="ADAL" clId="{BCB37101-DD21-41F0-8144-A8E207FE2E90}" dt="2019-03-12T02:19:36.017" v="3638"/>
          <ac:grpSpMkLst>
            <pc:docMk/>
            <pc:sldMk cId="3021431467" sldId="320"/>
            <ac:grpSpMk id="49" creationId="{3D395F6F-CE77-4B5A-86B3-E16A7149B8F1}"/>
          </ac:grpSpMkLst>
        </pc:grpChg>
        <pc:picChg chg="del">
          <ac:chgData name="Young, Andrew N" userId="2b031776-7d42-478c-8563-72e581495ec2" providerId="ADAL" clId="{BCB37101-DD21-41F0-8144-A8E207FE2E90}" dt="2019-03-11T16:28:49.296" v="1932" actId="478"/>
          <ac:picMkLst>
            <pc:docMk/>
            <pc:sldMk cId="3021431467" sldId="320"/>
            <ac:picMk id="5" creationId="{79A3BA63-64C8-4675-BA4C-C94FEAA6EA84}"/>
          </ac:picMkLst>
        </pc:picChg>
        <pc:picChg chg="del">
          <ac:chgData name="Young, Andrew N" userId="2b031776-7d42-478c-8563-72e581495ec2" providerId="ADAL" clId="{BCB37101-DD21-41F0-8144-A8E207FE2E90}" dt="2019-03-11T16:28:53.425" v="1933" actId="478"/>
          <ac:picMkLst>
            <pc:docMk/>
            <pc:sldMk cId="3021431467" sldId="320"/>
            <ac:picMk id="6" creationId="{D85AF55E-A2F0-47EB-A50C-FAE1312A2E8D}"/>
          </ac:picMkLst>
        </pc:picChg>
        <pc:picChg chg="del">
          <ac:chgData name="Young, Andrew N" userId="2b031776-7d42-478c-8563-72e581495ec2" providerId="ADAL" clId="{BCB37101-DD21-41F0-8144-A8E207FE2E90}" dt="2019-03-11T16:28:55.777" v="1934" actId="478"/>
          <ac:picMkLst>
            <pc:docMk/>
            <pc:sldMk cId="3021431467" sldId="320"/>
            <ac:picMk id="7" creationId="{82B8A556-8AC5-49F5-A175-9A24E7BA82DD}"/>
          </ac:picMkLst>
        </pc:picChg>
        <pc:picChg chg="del">
          <ac:chgData name="Young, Andrew N" userId="2b031776-7d42-478c-8563-72e581495ec2" providerId="ADAL" clId="{BCB37101-DD21-41F0-8144-A8E207FE2E90}" dt="2019-03-11T16:28:58.075" v="1935" actId="478"/>
          <ac:picMkLst>
            <pc:docMk/>
            <pc:sldMk cId="3021431467" sldId="320"/>
            <ac:picMk id="8" creationId="{854F0F33-1FB9-4E90-8289-2C7D0A978152}"/>
          </ac:picMkLst>
        </pc:picChg>
        <pc:picChg chg="add mod ord modCrop">
          <ac:chgData name="Young, Andrew N" userId="2b031776-7d42-478c-8563-72e581495ec2" providerId="ADAL" clId="{BCB37101-DD21-41F0-8144-A8E207FE2E90}" dt="2019-03-11T16:39:13.240" v="2122" actId="167"/>
          <ac:picMkLst>
            <pc:docMk/>
            <pc:sldMk cId="3021431467" sldId="320"/>
            <ac:picMk id="12" creationId="{E971A952-82F0-4C3F-A5A1-37B67ED628A1}"/>
          </ac:picMkLst>
        </pc:picChg>
        <pc:picChg chg="add mod ord">
          <ac:chgData name="Young, Andrew N" userId="2b031776-7d42-478c-8563-72e581495ec2" providerId="ADAL" clId="{BCB37101-DD21-41F0-8144-A8E207FE2E90}" dt="2019-03-11T16:43:52.239" v="2256" actId="167"/>
          <ac:picMkLst>
            <pc:docMk/>
            <pc:sldMk cId="3021431467" sldId="320"/>
            <ac:picMk id="29" creationId="{7922AFF1-0FA6-43E1-B6C3-09657144476D}"/>
          </ac:picMkLst>
        </pc:picChg>
        <pc:picChg chg="add del">
          <ac:chgData name="Young, Andrew N" userId="2b031776-7d42-478c-8563-72e581495ec2" providerId="ADAL" clId="{BCB37101-DD21-41F0-8144-A8E207FE2E90}" dt="2019-03-11T16:42:16.429" v="2228" actId="478"/>
          <ac:picMkLst>
            <pc:docMk/>
            <pc:sldMk cId="3021431467" sldId="320"/>
            <ac:picMk id="31" creationId="{5B6D8A18-7B76-447E-B9A1-897F888A299F}"/>
          </ac:picMkLst>
        </pc:picChg>
        <pc:picChg chg="add del">
          <ac:chgData name="Young, Andrew N" userId="2b031776-7d42-478c-8563-72e581495ec2" providerId="ADAL" clId="{BCB37101-DD21-41F0-8144-A8E207FE2E90}" dt="2019-03-11T16:42:23.502" v="2230" actId="478"/>
          <ac:picMkLst>
            <pc:docMk/>
            <pc:sldMk cId="3021431467" sldId="320"/>
            <ac:picMk id="38" creationId="{60236383-A5A3-4F75-A044-5DA30E55F730}"/>
          </ac:picMkLst>
        </pc:picChg>
        <pc:picChg chg="add mod ord modCrop">
          <ac:chgData name="Young, Andrew N" userId="2b031776-7d42-478c-8563-72e581495ec2" providerId="ADAL" clId="{BCB37101-DD21-41F0-8144-A8E207FE2E90}" dt="2019-03-11T16:50:24.001" v="2320" actId="167"/>
          <ac:picMkLst>
            <pc:docMk/>
            <pc:sldMk cId="3021431467" sldId="320"/>
            <ac:picMk id="45" creationId="{0AA43008-144E-49A3-B9FC-6695AE673DBE}"/>
          </ac:picMkLst>
        </pc:picChg>
        <pc:picChg chg="add mod ord modCrop">
          <ac:chgData name="Young, Andrew N" userId="2b031776-7d42-478c-8563-72e581495ec2" providerId="ADAL" clId="{BCB37101-DD21-41F0-8144-A8E207FE2E90}" dt="2019-03-11T16:52:59.195" v="2429" actId="167"/>
          <ac:picMkLst>
            <pc:docMk/>
            <pc:sldMk cId="3021431467" sldId="320"/>
            <ac:picMk id="46" creationId="{8473F672-1FB9-4828-9D67-E3BA79B046EB}"/>
          </ac:picMkLst>
        </pc:picChg>
        <pc:cxnChg chg="mod ord topLvl">
          <ac:chgData name="Young, Andrew N" userId="2b031776-7d42-478c-8563-72e581495ec2" providerId="ADAL" clId="{BCB37101-DD21-41F0-8144-A8E207FE2E90}" dt="2019-03-12T02:17:12.524" v="3632" actId="166"/>
          <ac:cxnSpMkLst>
            <pc:docMk/>
            <pc:sldMk cId="3021431467" sldId="320"/>
            <ac:cxnSpMk id="32" creationId="{E18D9043-805B-4480-93F7-D2AE9313FFFF}"/>
          </ac:cxnSpMkLst>
        </pc:cxnChg>
        <pc:cxnChg chg="add mod">
          <ac:chgData name="Young, Andrew N" userId="2b031776-7d42-478c-8563-72e581495ec2" providerId="ADAL" clId="{BCB37101-DD21-41F0-8144-A8E207FE2E90}" dt="2019-03-11T16:44:40.413" v="2271" actId="14100"/>
          <ac:cxnSpMkLst>
            <pc:docMk/>
            <pc:sldMk cId="3021431467" sldId="320"/>
            <ac:cxnSpMk id="41" creationId="{E1EF624B-912E-4D1E-B282-1C5C540E03ED}"/>
          </ac:cxnSpMkLst>
        </pc:cxnChg>
        <pc:cxnChg chg="add mod">
          <ac:chgData name="Young, Andrew N" userId="2b031776-7d42-478c-8563-72e581495ec2" providerId="ADAL" clId="{BCB37101-DD21-41F0-8144-A8E207FE2E90}" dt="2019-03-11T16:45:10.068" v="2276" actId="1076"/>
          <ac:cxnSpMkLst>
            <pc:docMk/>
            <pc:sldMk cId="3021431467" sldId="320"/>
            <ac:cxnSpMk id="44" creationId="{798B79E5-1267-4F56-9F0B-E36900315276}"/>
          </ac:cxnSpMkLst>
        </pc:cxnChg>
        <pc:cxnChg chg="add mod">
          <ac:chgData name="Young, Andrew N" userId="2b031776-7d42-478c-8563-72e581495ec2" providerId="ADAL" clId="{BCB37101-DD21-41F0-8144-A8E207FE2E90}" dt="2019-03-11T17:07:11.849" v="2719" actId="554"/>
          <ac:cxnSpMkLst>
            <pc:docMk/>
            <pc:sldMk cId="3021431467" sldId="320"/>
            <ac:cxnSpMk id="47" creationId="{F90ED58A-B18F-4A66-9F47-2669FE07A79E}"/>
          </ac:cxnSpMkLst>
        </pc:cxnChg>
        <pc:cxnChg chg="add mod">
          <ac:chgData name="Young, Andrew N" userId="2b031776-7d42-478c-8563-72e581495ec2" providerId="ADAL" clId="{BCB37101-DD21-41F0-8144-A8E207FE2E90}" dt="2019-03-11T17:07:11.849" v="2719" actId="554"/>
          <ac:cxnSpMkLst>
            <pc:docMk/>
            <pc:sldMk cId="3021431467" sldId="320"/>
            <ac:cxnSpMk id="48" creationId="{ED19E71C-A86C-4447-8B59-32D4701B3947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png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image" Target="../media/image12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png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image" Target="../media/image18.png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png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png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1BAE922E-3F72-4703-8A26-000AEF783EB5}" type="datetimeFigureOut">
              <a:rPr lang="en-US" smtClean="0"/>
              <a:t>3/1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6453F6C7-0C6B-43D0-8E2E-AD43A6A00D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6804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53F6C7-0C6B-43D0-8E2E-AD43A6A00D7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11033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53F6C7-0C6B-43D0-8E2E-AD43A6A00D71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7585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53F6C7-0C6B-43D0-8E2E-AD43A6A00D71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7585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8" name="Picture 2" descr="C:\_projects\013015_Fri\P12158_Carrie\Molecules_standard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90"/>
          <a:stretch/>
        </p:blipFill>
        <p:spPr>
          <a:xfrm>
            <a:off x="1" y="893"/>
            <a:ext cx="914519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339725" y="1474788"/>
            <a:ext cx="5943600" cy="2286000"/>
          </a:xfrm>
        </p:spPr>
        <p:txBody>
          <a:bodyPr anchor="b">
            <a:normAutofit/>
          </a:bodyPr>
          <a:lstStyle>
            <a:lvl1pPr>
              <a:lnSpc>
                <a:spcPct val="85000"/>
              </a:lnSpc>
              <a:defRPr sz="4800" b="1" baseline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339725" y="3923506"/>
            <a:ext cx="5943600" cy="914400"/>
          </a:xfrm>
        </p:spPr>
        <p:txBody>
          <a:bodyPr anchor="t">
            <a:normAutofit/>
          </a:bodyPr>
          <a:lstStyle>
            <a:lvl1pPr marL="0" indent="0" algn="l">
              <a:lnSpc>
                <a:spcPct val="85000"/>
              </a:lnSpc>
              <a:spcBef>
                <a:spcPts val="400"/>
              </a:spcBef>
              <a:buNone/>
              <a:defRPr sz="2400" b="1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9725" y="5000625"/>
            <a:ext cx="3648075" cy="457200"/>
          </a:xfrm>
        </p:spPr>
        <p:txBody>
          <a:bodyPr>
            <a:normAutofit/>
          </a:bodyPr>
          <a:lstStyle>
            <a:lvl1pPr marL="0" indent="0">
              <a:spcBef>
                <a:spcPts val="400"/>
              </a:spcBef>
              <a:buNone/>
              <a:defRPr sz="2000" b="1" baseline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</a:defRPr>
            </a:lvl1pPr>
            <a:lvl2pPr marL="298450" indent="0">
              <a:buNone/>
              <a:defRPr/>
            </a:lvl2pPr>
            <a:lvl3pPr marL="576262" indent="0">
              <a:buNone/>
              <a:defRPr/>
            </a:lvl3pPr>
            <a:lvl4pPr marL="801688" indent="0">
              <a:buNone/>
              <a:defRPr/>
            </a:lvl4pPr>
            <a:lvl5pPr marL="1089025" indent="0">
              <a:buNone/>
              <a:defRPr/>
            </a:lvl5pPr>
          </a:lstStyle>
          <a:p>
            <a:pPr lvl="0"/>
            <a:r>
              <a:rPr lang="en-US" dirty="0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34547286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100000">
                <a:srgbClr val="BBD024"/>
              </a:gs>
              <a:gs pos="1000">
                <a:schemeClr val="accent1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" y="0"/>
            <a:ext cx="9142808" cy="68571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5501" y="3960554"/>
            <a:ext cx="5278995" cy="1074992"/>
          </a:xfrm>
        </p:spPr>
        <p:txBody>
          <a:bodyPr anchor="b">
            <a:normAutofit/>
          </a:bodyPr>
          <a:lstStyle>
            <a:lvl1pPr>
              <a:defRPr sz="3200" b="1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5501" y="5098700"/>
            <a:ext cx="5278995" cy="640080"/>
          </a:xfrm>
        </p:spPr>
        <p:txBody>
          <a:bodyPr anchor="t">
            <a:normAutofit/>
          </a:bodyPr>
          <a:lstStyle>
            <a:lvl1pPr marL="0" indent="0" algn="l">
              <a:spcBef>
                <a:spcPts val="400"/>
              </a:spcBef>
              <a:buNone/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0040" y="6356350"/>
            <a:ext cx="2133600" cy="365125"/>
          </a:xfrm>
        </p:spPr>
        <p:txBody>
          <a:bodyPr/>
          <a:lstStyle/>
          <a:p>
            <a:fld id="{23E123D6-A26F-48C4-B68B-48002B28495B}" type="slidenum">
              <a:rPr lang="en-US" smtClean="0"/>
              <a:pPr/>
              <a:t>‹#›</a:t>
            </a:fld>
            <a:r>
              <a:rPr lang="en-US" dirty="0"/>
              <a:t> </a:t>
            </a:r>
            <a:r>
              <a:rPr lang="en-US" dirty="0">
                <a:sym typeface="Symbol"/>
              </a:rPr>
              <a:t>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557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040" y="274638"/>
            <a:ext cx="8503920" cy="914400"/>
          </a:xfrm>
        </p:spPr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0040" y="1447800"/>
            <a:ext cx="8503920" cy="4572000"/>
          </a:xfrm>
        </p:spPr>
        <p:txBody>
          <a:bodyPr/>
          <a:lstStyle>
            <a:lvl1pPr>
              <a:spcBef>
                <a:spcPts val="1200"/>
              </a:spcBef>
              <a:defRPr baseline="0"/>
            </a:lvl1pPr>
            <a:lvl2pPr>
              <a:buClr>
                <a:schemeClr val="bg1">
                  <a:lumMod val="65000"/>
                </a:schemeClr>
              </a:buClr>
              <a:defRPr sz="2000" baseline="0"/>
            </a:lvl2pPr>
            <a:lvl3pPr>
              <a:buClr>
                <a:schemeClr val="bg1">
                  <a:lumMod val="65000"/>
                </a:schemeClr>
              </a:buClr>
              <a:defRPr baseline="0"/>
            </a:lvl3pPr>
            <a:lvl4pPr>
              <a:buClr>
                <a:schemeClr val="bg1">
                  <a:lumMod val="65000"/>
                </a:schemeClr>
              </a:buClr>
              <a:defRPr baseline="0"/>
            </a:lvl4pPr>
            <a:lvl5pPr>
              <a:buClr>
                <a:schemeClr val="bg1">
                  <a:lumMod val="65000"/>
                </a:schemeClr>
              </a:buClr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0040" y="6356350"/>
            <a:ext cx="2133600" cy="365125"/>
          </a:xfrm>
        </p:spPr>
        <p:txBody>
          <a:bodyPr/>
          <a:lstStyle/>
          <a:p>
            <a:fld id="{23E123D6-A26F-48C4-B68B-48002B28495B}" type="slidenum">
              <a:rPr lang="en-US" smtClean="0"/>
              <a:pPr/>
              <a:t>‹#›</a:t>
            </a:fld>
            <a:r>
              <a:rPr lang="en-US" dirty="0"/>
              <a:t> </a:t>
            </a:r>
            <a:r>
              <a:rPr lang="en-US" dirty="0">
                <a:sym typeface="Symbol"/>
              </a:rPr>
              <a:t>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81000" y="1189038"/>
            <a:ext cx="8382000" cy="0"/>
          </a:xfrm>
          <a:prstGeom prst="line">
            <a:avLst/>
          </a:prstGeom>
          <a:ln w="47625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28 October 2015</a:t>
            </a:r>
          </a:p>
        </p:txBody>
      </p:sp>
    </p:spTree>
    <p:extLst>
      <p:ext uri="{BB962C8B-B14F-4D97-AF65-F5344CB8AC3E}">
        <p14:creationId xmlns:p14="http://schemas.microsoft.com/office/powerpoint/2010/main" val="19205844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040" y="274638"/>
            <a:ext cx="8503920" cy="914400"/>
          </a:xfrm>
        </p:spPr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0040" y="1600200"/>
            <a:ext cx="4038600" cy="4525963"/>
          </a:xfrm>
        </p:spPr>
        <p:txBody>
          <a:bodyPr/>
          <a:lstStyle>
            <a:lvl1pPr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buClr>
                <a:schemeClr val="bg1">
                  <a:lumMod val="65000"/>
                </a:schemeClr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buClr>
                <a:schemeClr val="bg1">
                  <a:lumMod val="65000"/>
                </a:schemeClr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buClr>
                <a:schemeClr val="bg1">
                  <a:lumMod val="65000"/>
                </a:schemeClr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buClr>
                <a:schemeClr val="bg1">
                  <a:lumMod val="65000"/>
                </a:schemeClr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2004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23E123D6-A26F-48C4-B68B-48002B28495B}" type="slidenum">
              <a:rPr lang="en-US" smtClean="0"/>
              <a:pPr/>
              <a:t>‹#›</a:t>
            </a:fld>
            <a:r>
              <a:rPr lang="en-US" dirty="0"/>
              <a:t> </a:t>
            </a:r>
            <a:r>
              <a:rPr lang="en-US" dirty="0">
                <a:sym typeface="Symbol"/>
              </a:rPr>
              <a:t></a:t>
            </a:r>
            <a:endParaRPr lang="en-US" dirty="0"/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28 October 2015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2"/>
          </p:nvPr>
        </p:nvSpPr>
        <p:spPr>
          <a:xfrm>
            <a:off x="4785360" y="1600200"/>
            <a:ext cx="4038600" cy="4525963"/>
          </a:xfrm>
        </p:spPr>
        <p:txBody>
          <a:bodyPr/>
          <a:lstStyle>
            <a:lvl1pPr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buClr>
                <a:schemeClr val="bg1">
                  <a:lumMod val="65000"/>
                </a:schemeClr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buClr>
                <a:schemeClr val="bg1">
                  <a:lumMod val="65000"/>
                </a:schemeClr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buClr>
                <a:schemeClr val="bg1">
                  <a:lumMod val="65000"/>
                </a:schemeClr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buClr>
                <a:schemeClr val="bg1">
                  <a:lumMod val="65000"/>
                </a:schemeClr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81000" y="1189038"/>
            <a:ext cx="8382000" cy="0"/>
          </a:xfrm>
          <a:prstGeom prst="line">
            <a:avLst/>
          </a:prstGeom>
          <a:ln w="47625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6517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040" y="274638"/>
            <a:ext cx="8503920" cy="914400"/>
          </a:xfrm>
        </p:spPr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0040" y="6356350"/>
            <a:ext cx="2133600" cy="365125"/>
          </a:xfrm>
        </p:spPr>
        <p:txBody>
          <a:bodyPr/>
          <a:lstStyle/>
          <a:p>
            <a:fld id="{23E123D6-A26F-48C4-B68B-48002B28495B}" type="slidenum">
              <a:rPr lang="en-US" smtClean="0"/>
              <a:pPr/>
              <a:t>‹#›</a:t>
            </a:fld>
            <a:r>
              <a:rPr lang="en-US" dirty="0"/>
              <a:t> </a:t>
            </a:r>
            <a:r>
              <a:rPr lang="en-US" dirty="0">
                <a:sym typeface="Symbol"/>
              </a:rPr>
              <a:t>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81000" y="1189038"/>
            <a:ext cx="8382000" cy="0"/>
          </a:xfrm>
          <a:prstGeom prst="line">
            <a:avLst/>
          </a:prstGeom>
          <a:ln w="47625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28 October 2015</a:t>
            </a:r>
          </a:p>
        </p:txBody>
      </p:sp>
      <p:sp>
        <p:nvSpPr>
          <p:cNvPr id="10" name="Oval 5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3059011" y="1415143"/>
            <a:ext cx="3001859" cy="2963568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28575">
            <a:noFill/>
            <a:round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0" hangingPunct="0"/>
            <a:endParaRPr lang="en-US" altLang="en-US" sz="1400">
              <a:ea typeface="ヒラギノ角ゴ Pro W3" charset="-128"/>
            </a:endParaRPr>
          </a:p>
        </p:txBody>
      </p:sp>
      <p:sp>
        <p:nvSpPr>
          <p:cNvPr id="11" name="Oval 6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2286000" y="3043242"/>
            <a:ext cx="3001859" cy="2986623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28575">
            <a:noFill/>
            <a:round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0" hangingPunct="0"/>
            <a:endParaRPr lang="en-US" altLang="en-US" sz="1400">
              <a:solidFill>
                <a:srgbClr val="FFFFFF"/>
              </a:solidFill>
              <a:ea typeface="ヒラギノ角ゴ Pro W3" charset="-128"/>
            </a:endParaRPr>
          </a:p>
        </p:txBody>
      </p:sp>
      <p:sp>
        <p:nvSpPr>
          <p:cNvPr id="14" name="Oval 7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3833862" y="3066299"/>
            <a:ext cx="3005540" cy="2963568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28575">
            <a:noFill/>
            <a:round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0" hangingPunct="0"/>
            <a:endParaRPr lang="en-US" altLang="en-US" sz="1400">
              <a:solidFill>
                <a:srgbClr val="FFFFFF"/>
              </a:solidFill>
              <a:ea typeface="ヒラギノ角ゴ Pro W3" charset="-128"/>
            </a:endParaRPr>
          </a:p>
        </p:txBody>
      </p:sp>
      <p:sp>
        <p:nvSpPr>
          <p:cNvPr id="16" name="Freeform 8"/>
          <p:cNvSpPr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3090300" y="3043242"/>
            <a:ext cx="1487125" cy="1175850"/>
          </a:xfrm>
          <a:custGeom>
            <a:avLst/>
            <a:gdLst>
              <a:gd name="T0" fmla="*/ 284 w 607"/>
              <a:gd name="T1" fmla="*/ 0 h 303"/>
              <a:gd name="T2" fmla="*/ 0 w 607"/>
              <a:gd name="T3" fmla="*/ 44 h 303"/>
              <a:gd name="T4" fmla="*/ 0 w 607"/>
              <a:gd name="T5" fmla="*/ 44 h 303"/>
              <a:gd name="T6" fmla="*/ 318 w 607"/>
              <a:gd name="T7" fmla="*/ 303 h 303"/>
              <a:gd name="T8" fmla="*/ 317 w 607"/>
              <a:gd name="T9" fmla="*/ 302 h 303"/>
              <a:gd name="T10" fmla="*/ 607 w 607"/>
              <a:gd name="T11" fmla="*/ 58 h 303"/>
              <a:gd name="T12" fmla="*/ 607 w 607"/>
              <a:gd name="T13" fmla="*/ 58 h 303"/>
              <a:gd name="T14" fmla="*/ 284 w 607"/>
              <a:gd name="T15" fmla="*/ 0 h 30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07"/>
              <a:gd name="T25" fmla="*/ 0 h 303"/>
              <a:gd name="T26" fmla="*/ 607 w 607"/>
              <a:gd name="T27" fmla="*/ 303 h 30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07" h="303">
                <a:moveTo>
                  <a:pt x="284" y="0"/>
                </a:moveTo>
                <a:cubicBezTo>
                  <a:pt x="182" y="0"/>
                  <a:pt x="85" y="16"/>
                  <a:pt x="0" y="44"/>
                </a:cubicBezTo>
                <a:cubicBezTo>
                  <a:pt x="0" y="44"/>
                  <a:pt x="0" y="44"/>
                  <a:pt x="0" y="44"/>
                </a:cubicBezTo>
                <a:cubicBezTo>
                  <a:pt x="39" y="157"/>
                  <a:pt x="158" y="251"/>
                  <a:pt x="318" y="303"/>
                </a:cubicBezTo>
                <a:cubicBezTo>
                  <a:pt x="317" y="302"/>
                  <a:pt x="317" y="302"/>
                  <a:pt x="317" y="302"/>
                </a:cubicBezTo>
                <a:cubicBezTo>
                  <a:pt x="356" y="198"/>
                  <a:pt x="463" y="110"/>
                  <a:pt x="607" y="58"/>
                </a:cubicBezTo>
                <a:cubicBezTo>
                  <a:pt x="607" y="58"/>
                  <a:pt x="607" y="58"/>
                  <a:pt x="607" y="58"/>
                </a:cubicBezTo>
                <a:cubicBezTo>
                  <a:pt x="513" y="21"/>
                  <a:pt x="403" y="0"/>
                  <a:pt x="284" y="0"/>
                </a:cubicBezTo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 w="76200">
            <a:noFill/>
            <a:round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0" hangingPunct="0"/>
            <a:endParaRPr lang="en-US" altLang="en-US" sz="1400">
              <a:solidFill>
                <a:srgbClr val="FFFFFF"/>
              </a:solidFill>
              <a:ea typeface="ヒラギノ角ゴ Pro W3" charset="-128"/>
            </a:endParaRPr>
          </a:p>
        </p:txBody>
      </p:sp>
      <p:sp>
        <p:nvSpPr>
          <p:cNvPr id="17" name="Freeform 9"/>
          <p:cNvSpPr>
            <a:spLocks/>
          </p:cNvSpPr>
          <p:nvPr userDrawn="1">
            <p:custDataLst>
              <p:tags r:id="rId5"/>
            </p:custDataLst>
          </p:nvPr>
        </p:nvSpPr>
        <p:spPr bwMode="gray">
          <a:xfrm>
            <a:off x="3830181" y="4206678"/>
            <a:ext cx="1457677" cy="1606817"/>
          </a:xfrm>
          <a:custGeom>
            <a:avLst/>
            <a:gdLst>
              <a:gd name="T0" fmla="*/ 581 w 595"/>
              <a:gd name="T1" fmla="*/ 0 h 415"/>
              <a:gd name="T2" fmla="*/ 595 w 595"/>
              <a:gd name="T3" fmla="*/ 84 h 415"/>
              <a:gd name="T4" fmla="*/ 297 w 595"/>
              <a:gd name="T5" fmla="*/ 415 h 415"/>
              <a:gd name="T6" fmla="*/ 297 w 595"/>
              <a:gd name="T7" fmla="*/ 415 h 415"/>
              <a:gd name="T8" fmla="*/ 0 w 595"/>
              <a:gd name="T9" fmla="*/ 87 h 415"/>
              <a:gd name="T10" fmla="*/ 16 w 595"/>
              <a:gd name="T11" fmla="*/ 1 h 415"/>
              <a:gd name="T12" fmla="*/ 16 w 595"/>
              <a:gd name="T13" fmla="*/ 1 h 415"/>
              <a:gd name="T14" fmla="*/ 297 w 595"/>
              <a:gd name="T15" fmla="*/ 43 h 415"/>
              <a:gd name="T16" fmla="*/ 581 w 595"/>
              <a:gd name="T17" fmla="*/ 0 h 4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95"/>
              <a:gd name="T28" fmla="*/ 0 h 415"/>
              <a:gd name="T29" fmla="*/ 595 w 595"/>
              <a:gd name="T30" fmla="*/ 415 h 41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95" h="415">
                <a:moveTo>
                  <a:pt x="581" y="0"/>
                </a:moveTo>
                <a:cubicBezTo>
                  <a:pt x="590" y="27"/>
                  <a:pt x="595" y="55"/>
                  <a:pt x="595" y="84"/>
                </a:cubicBezTo>
                <a:cubicBezTo>
                  <a:pt x="595" y="225"/>
                  <a:pt x="476" y="348"/>
                  <a:pt x="297" y="415"/>
                </a:cubicBezTo>
                <a:cubicBezTo>
                  <a:pt x="297" y="415"/>
                  <a:pt x="297" y="415"/>
                  <a:pt x="297" y="415"/>
                </a:cubicBezTo>
                <a:cubicBezTo>
                  <a:pt x="119" y="348"/>
                  <a:pt x="0" y="226"/>
                  <a:pt x="0" y="87"/>
                </a:cubicBezTo>
                <a:cubicBezTo>
                  <a:pt x="0" y="57"/>
                  <a:pt x="5" y="28"/>
                  <a:pt x="16" y="1"/>
                </a:cubicBezTo>
                <a:cubicBezTo>
                  <a:pt x="16" y="1"/>
                  <a:pt x="16" y="1"/>
                  <a:pt x="16" y="1"/>
                </a:cubicBezTo>
                <a:cubicBezTo>
                  <a:pt x="100" y="28"/>
                  <a:pt x="195" y="43"/>
                  <a:pt x="297" y="43"/>
                </a:cubicBezTo>
                <a:cubicBezTo>
                  <a:pt x="399" y="43"/>
                  <a:pt x="496" y="27"/>
                  <a:pt x="581" y="0"/>
                </a:cubicBez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 w="76200">
            <a:noFill/>
            <a:round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0" hangingPunct="0"/>
            <a:endParaRPr lang="en-US" altLang="en-US" sz="1400">
              <a:solidFill>
                <a:srgbClr val="FFFFFF"/>
              </a:solidFill>
              <a:ea typeface="ヒラギノ角ゴ Pro W3" charset="-128"/>
            </a:endParaRPr>
          </a:p>
        </p:txBody>
      </p:sp>
      <p:sp>
        <p:nvSpPr>
          <p:cNvPr id="18" name="Freeform 10"/>
          <p:cNvSpPr>
            <a:spLocks/>
          </p:cNvSpPr>
          <p:nvPr userDrawn="1">
            <p:custDataLst>
              <p:tags r:id="rId6"/>
            </p:custDataLst>
          </p:nvPr>
        </p:nvSpPr>
        <p:spPr bwMode="gray">
          <a:xfrm>
            <a:off x="4573744" y="3066299"/>
            <a:ext cx="1444794" cy="1145700"/>
          </a:xfrm>
          <a:custGeom>
            <a:avLst/>
            <a:gdLst>
              <a:gd name="T0" fmla="*/ 309 w 590"/>
              <a:gd name="T1" fmla="*/ 0 h 296"/>
              <a:gd name="T2" fmla="*/ 0 w 590"/>
              <a:gd name="T3" fmla="*/ 51 h 296"/>
              <a:gd name="T4" fmla="*/ 0 w 590"/>
              <a:gd name="T5" fmla="*/ 52 h 296"/>
              <a:gd name="T6" fmla="*/ 276 w 590"/>
              <a:gd name="T7" fmla="*/ 296 h 296"/>
              <a:gd name="T8" fmla="*/ 276 w 590"/>
              <a:gd name="T9" fmla="*/ 296 h 296"/>
              <a:gd name="T10" fmla="*/ 590 w 590"/>
              <a:gd name="T11" fmla="*/ 42 h 296"/>
              <a:gd name="T12" fmla="*/ 589 w 590"/>
              <a:gd name="T13" fmla="*/ 42 h 296"/>
              <a:gd name="T14" fmla="*/ 309 w 590"/>
              <a:gd name="T15" fmla="*/ 0 h 29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90"/>
              <a:gd name="T25" fmla="*/ 0 h 296"/>
              <a:gd name="T26" fmla="*/ 590 w 590"/>
              <a:gd name="T27" fmla="*/ 296 h 29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90" h="296">
                <a:moveTo>
                  <a:pt x="309" y="0"/>
                </a:moveTo>
                <a:cubicBezTo>
                  <a:pt x="196" y="0"/>
                  <a:pt x="91" y="18"/>
                  <a:pt x="0" y="51"/>
                </a:cubicBezTo>
                <a:cubicBezTo>
                  <a:pt x="0" y="52"/>
                  <a:pt x="0" y="52"/>
                  <a:pt x="0" y="52"/>
                </a:cubicBezTo>
                <a:cubicBezTo>
                  <a:pt x="138" y="105"/>
                  <a:pt x="239" y="193"/>
                  <a:pt x="276" y="296"/>
                </a:cubicBezTo>
                <a:cubicBezTo>
                  <a:pt x="276" y="296"/>
                  <a:pt x="276" y="296"/>
                  <a:pt x="276" y="296"/>
                </a:cubicBezTo>
                <a:cubicBezTo>
                  <a:pt x="432" y="245"/>
                  <a:pt x="549" y="152"/>
                  <a:pt x="590" y="42"/>
                </a:cubicBezTo>
                <a:cubicBezTo>
                  <a:pt x="589" y="42"/>
                  <a:pt x="589" y="42"/>
                  <a:pt x="589" y="42"/>
                </a:cubicBezTo>
                <a:cubicBezTo>
                  <a:pt x="505" y="15"/>
                  <a:pt x="410" y="0"/>
                  <a:pt x="309" y="0"/>
                </a:cubicBezTo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 w="76200">
            <a:noFill/>
            <a:round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0" hangingPunct="0"/>
            <a:endParaRPr lang="en-US" altLang="en-US" sz="1400">
              <a:solidFill>
                <a:srgbClr val="FFFFFF"/>
              </a:solidFill>
              <a:ea typeface="ヒラギノ角ゴ Pro W3" charset="-128"/>
            </a:endParaRPr>
          </a:p>
        </p:txBody>
      </p:sp>
      <p:sp>
        <p:nvSpPr>
          <p:cNvPr id="19" name="Freeform 11"/>
          <p:cNvSpPr>
            <a:spLocks/>
          </p:cNvSpPr>
          <p:nvPr userDrawn="1">
            <p:custDataLst>
              <p:tags r:id="rId7"/>
            </p:custDataLst>
          </p:nvPr>
        </p:nvSpPr>
        <p:spPr bwMode="gray">
          <a:xfrm>
            <a:off x="3863310" y="3261388"/>
            <a:ext cx="1395100" cy="1117323"/>
          </a:xfrm>
          <a:custGeom>
            <a:avLst/>
            <a:gdLst>
              <a:gd name="T0" fmla="*/ 1 w 566"/>
              <a:gd name="T1" fmla="*/ 245 h 287"/>
              <a:gd name="T2" fmla="*/ 282 w 566"/>
              <a:gd name="T3" fmla="*/ 287 h 287"/>
              <a:gd name="T4" fmla="*/ 566 w 566"/>
              <a:gd name="T5" fmla="*/ 244 h 287"/>
              <a:gd name="T6" fmla="*/ 566 w 566"/>
              <a:gd name="T7" fmla="*/ 244 h 287"/>
              <a:gd name="T8" fmla="*/ 290 w 566"/>
              <a:gd name="T9" fmla="*/ 0 h 287"/>
              <a:gd name="T10" fmla="*/ 290 w 566"/>
              <a:gd name="T11" fmla="*/ 0 h 287"/>
              <a:gd name="T12" fmla="*/ 0 w 566"/>
              <a:gd name="T13" fmla="*/ 244 h 287"/>
              <a:gd name="T14" fmla="*/ 1 w 566"/>
              <a:gd name="T15" fmla="*/ 245 h 28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66"/>
              <a:gd name="T25" fmla="*/ 0 h 287"/>
              <a:gd name="T26" fmla="*/ 566 w 566"/>
              <a:gd name="T27" fmla="*/ 287 h 287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66" h="287">
                <a:moveTo>
                  <a:pt x="1" y="245"/>
                </a:moveTo>
                <a:cubicBezTo>
                  <a:pt x="85" y="272"/>
                  <a:pt x="180" y="287"/>
                  <a:pt x="282" y="287"/>
                </a:cubicBezTo>
                <a:cubicBezTo>
                  <a:pt x="384" y="287"/>
                  <a:pt x="481" y="271"/>
                  <a:pt x="566" y="244"/>
                </a:cubicBezTo>
                <a:cubicBezTo>
                  <a:pt x="566" y="244"/>
                  <a:pt x="566" y="244"/>
                  <a:pt x="566" y="244"/>
                </a:cubicBezTo>
                <a:cubicBezTo>
                  <a:pt x="529" y="141"/>
                  <a:pt x="428" y="53"/>
                  <a:pt x="290" y="0"/>
                </a:cubicBezTo>
                <a:cubicBezTo>
                  <a:pt x="290" y="0"/>
                  <a:pt x="290" y="0"/>
                  <a:pt x="290" y="0"/>
                </a:cubicBezTo>
                <a:cubicBezTo>
                  <a:pt x="146" y="52"/>
                  <a:pt x="39" y="140"/>
                  <a:pt x="0" y="244"/>
                </a:cubicBezTo>
                <a:lnTo>
                  <a:pt x="1" y="245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76200">
            <a:noFill/>
            <a:round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0" hangingPunct="0"/>
            <a:endParaRPr lang="en-US" altLang="en-US" sz="1400">
              <a:solidFill>
                <a:srgbClr val="FFFFFF"/>
              </a:solidFill>
              <a:ea typeface="ヒラギノ角ゴ Pro W3" charset="-128"/>
            </a:endParaRPr>
          </a:p>
        </p:txBody>
      </p:sp>
      <p:sp>
        <p:nvSpPr>
          <p:cNvPr id="20" name="Text Box 12"/>
          <p:cNvSpPr txBox="1">
            <a:spLocks noChangeArrowheads="1"/>
          </p:cNvSpPr>
          <p:nvPr userDrawn="1">
            <p:custDataLst>
              <p:tags r:id="rId8"/>
            </p:custDataLst>
          </p:nvPr>
        </p:nvSpPr>
        <p:spPr bwMode="gray">
          <a:xfrm>
            <a:off x="4383065" y="4811401"/>
            <a:ext cx="353750" cy="2076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altLang="en-US" sz="1400" b="1">
                <a:solidFill>
                  <a:srgbClr val="FFFFFF"/>
                </a:solidFill>
                <a:ea typeface="ヒラギノ角ゴ Pro W3" charset="-128"/>
              </a:rPr>
              <a:t>Text</a:t>
            </a:r>
          </a:p>
        </p:txBody>
      </p:sp>
      <p:sp>
        <p:nvSpPr>
          <p:cNvPr id="21" name="Text Box 13"/>
          <p:cNvSpPr txBox="1"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4383065" y="2246877"/>
            <a:ext cx="353750" cy="2076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altLang="en-US" sz="1400" b="1">
                <a:solidFill>
                  <a:srgbClr val="FFFFFF"/>
                </a:solidFill>
                <a:ea typeface="ヒラギノ角ゴ Pro W3" charset="-128"/>
              </a:rPr>
              <a:t>Text</a:t>
            </a:r>
          </a:p>
        </p:txBody>
      </p:sp>
      <p:sp>
        <p:nvSpPr>
          <p:cNvPr id="22" name="Text Box 14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>
            <a:off x="5214972" y="3408539"/>
            <a:ext cx="353750" cy="2076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altLang="en-US" sz="1400" b="1">
                <a:solidFill>
                  <a:srgbClr val="FFFFFF"/>
                </a:solidFill>
                <a:ea typeface="ヒラギノ角ゴ Pro W3" charset="-128"/>
              </a:rPr>
              <a:t>Text</a:t>
            </a:r>
          </a:p>
        </p:txBody>
      </p:sp>
      <p:sp>
        <p:nvSpPr>
          <p:cNvPr id="23" name="Text Box 15"/>
          <p:cNvSpPr txBox="1">
            <a:spLocks noChangeArrowheads="1"/>
          </p:cNvSpPr>
          <p:nvPr userDrawn="1">
            <p:custDataLst>
              <p:tags r:id="rId11"/>
            </p:custDataLst>
          </p:nvPr>
        </p:nvSpPr>
        <p:spPr bwMode="gray">
          <a:xfrm>
            <a:off x="3641342" y="3408539"/>
            <a:ext cx="353750" cy="2076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altLang="en-US" sz="1400" b="1">
                <a:solidFill>
                  <a:srgbClr val="FFFFFF"/>
                </a:solidFill>
                <a:ea typeface="ヒラギノ角ゴ Pro W3" charset="-128"/>
              </a:rPr>
              <a:t>Text</a:t>
            </a:r>
          </a:p>
        </p:txBody>
      </p:sp>
      <p:sp>
        <p:nvSpPr>
          <p:cNvPr id="24" name="Text Box 16"/>
          <p:cNvSpPr txBox="1">
            <a:spLocks noChangeArrowheads="1"/>
          </p:cNvSpPr>
          <p:nvPr userDrawn="1">
            <p:custDataLst>
              <p:tags r:id="rId12"/>
            </p:custDataLst>
          </p:nvPr>
        </p:nvSpPr>
        <p:spPr bwMode="gray">
          <a:xfrm>
            <a:off x="4383065" y="3741963"/>
            <a:ext cx="353750" cy="2076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altLang="en-US" sz="1400" b="1" dirty="0">
                <a:solidFill>
                  <a:srgbClr val="FFFFFF"/>
                </a:solidFill>
                <a:ea typeface="ヒラギノ角ゴ Pro W3" charset="-128"/>
              </a:rPr>
              <a:t>Text</a:t>
            </a:r>
          </a:p>
        </p:txBody>
      </p:sp>
      <p:sp>
        <p:nvSpPr>
          <p:cNvPr id="25" name="Text Box 17"/>
          <p:cNvSpPr txBox="1">
            <a:spLocks noChangeArrowheads="1"/>
          </p:cNvSpPr>
          <p:nvPr userDrawn="1">
            <p:custDataLst>
              <p:tags r:id="rId13"/>
            </p:custDataLst>
          </p:nvPr>
        </p:nvSpPr>
        <p:spPr bwMode="gray">
          <a:xfrm>
            <a:off x="3138886" y="4511676"/>
            <a:ext cx="353750" cy="2076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altLang="en-US" sz="1400" b="1" dirty="0">
                <a:solidFill>
                  <a:srgbClr val="FFFFFF"/>
                </a:solidFill>
                <a:ea typeface="ヒラギノ角ゴ Pro W3" charset="-128"/>
              </a:rPr>
              <a:t>Text</a:t>
            </a:r>
          </a:p>
        </p:txBody>
      </p:sp>
      <p:sp>
        <p:nvSpPr>
          <p:cNvPr id="26" name="Text Box 18"/>
          <p:cNvSpPr txBox="1">
            <a:spLocks noChangeArrowheads="1"/>
          </p:cNvSpPr>
          <p:nvPr userDrawn="1">
            <p:custDataLst>
              <p:tags r:id="rId14"/>
            </p:custDataLst>
          </p:nvPr>
        </p:nvSpPr>
        <p:spPr bwMode="gray">
          <a:xfrm>
            <a:off x="5656692" y="4511676"/>
            <a:ext cx="353750" cy="2076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altLang="en-US" sz="1400" b="1">
                <a:solidFill>
                  <a:srgbClr val="FFFFFF"/>
                </a:solidFill>
                <a:ea typeface="ヒラギノ角ゴ Pro W3" charset="-128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7390912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" y="274638"/>
            <a:ext cx="8503920" cy="914400"/>
          </a:xfrm>
        </p:spPr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Organizational Char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0040" y="6356350"/>
            <a:ext cx="2133600" cy="365125"/>
          </a:xfrm>
        </p:spPr>
        <p:txBody>
          <a:bodyPr/>
          <a:lstStyle/>
          <a:p>
            <a:fld id="{23E123D6-A26F-48C4-B68B-48002B28495B}" type="slidenum">
              <a:rPr lang="en-US" smtClean="0"/>
              <a:pPr/>
              <a:t>‹#›</a:t>
            </a:fld>
            <a:r>
              <a:rPr lang="en-US" dirty="0"/>
              <a:t> </a:t>
            </a:r>
            <a:r>
              <a:rPr lang="en-US" dirty="0">
                <a:sym typeface="Symbol"/>
              </a:rPr>
              <a:t>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81000" y="1189038"/>
            <a:ext cx="8382000" cy="0"/>
          </a:xfrm>
          <a:prstGeom prst="line">
            <a:avLst/>
          </a:prstGeom>
          <a:ln w="47625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28 October 2015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541083" y="1755439"/>
            <a:ext cx="8061834" cy="3347122"/>
            <a:chOff x="514217" y="2046420"/>
            <a:chExt cx="8061834" cy="3347122"/>
          </a:xfrm>
        </p:grpSpPr>
        <p:grpSp>
          <p:nvGrpSpPr>
            <p:cNvPr id="10" name="Group 9"/>
            <p:cNvGrpSpPr/>
            <p:nvPr userDrawn="1"/>
          </p:nvGrpSpPr>
          <p:grpSpPr>
            <a:xfrm>
              <a:off x="514217" y="2046420"/>
              <a:ext cx="2099051" cy="3347122"/>
              <a:chOff x="385763" y="2046420"/>
              <a:chExt cx="1574698" cy="3347122"/>
            </a:xfrm>
          </p:grpSpPr>
          <p:sp>
            <p:nvSpPr>
              <p:cNvPr id="11" name="Freeform 10"/>
              <p:cNvSpPr/>
              <p:nvPr/>
            </p:nvSpPr>
            <p:spPr bwMode="gray">
              <a:xfrm>
                <a:off x="501070" y="2602604"/>
                <a:ext cx="260195" cy="672776"/>
              </a:xfrm>
              <a:custGeom>
                <a:avLst/>
                <a:gdLst>
                  <a:gd name="connsiteX0" fmla="*/ 0 w 260195"/>
                  <a:gd name="connsiteY0" fmla="*/ 0 h 557561"/>
                  <a:gd name="connsiteX1" fmla="*/ 0 w 260195"/>
                  <a:gd name="connsiteY1" fmla="*/ 557561 h 557561"/>
                  <a:gd name="connsiteX2" fmla="*/ 260195 w 260195"/>
                  <a:gd name="connsiteY2" fmla="*/ 557561 h 557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0195" h="557561">
                    <a:moveTo>
                      <a:pt x="0" y="0"/>
                    </a:moveTo>
                    <a:lnTo>
                      <a:pt x="0" y="557561"/>
                    </a:lnTo>
                    <a:lnTo>
                      <a:pt x="260195" y="557561"/>
                    </a:lnTo>
                  </a:path>
                </a:pathLst>
              </a:custGeom>
              <a:noFill/>
              <a:ln>
                <a:solidFill>
                  <a:schemeClr val="accent1"/>
                </a:solidFill>
                <a:miter lim="800000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  <p:sp>
            <p:nvSpPr>
              <p:cNvPr id="14" name="Freeform 13"/>
              <p:cNvSpPr/>
              <p:nvPr/>
            </p:nvSpPr>
            <p:spPr bwMode="gray">
              <a:xfrm>
                <a:off x="501070" y="3236975"/>
                <a:ext cx="260195" cy="931665"/>
              </a:xfrm>
              <a:custGeom>
                <a:avLst/>
                <a:gdLst>
                  <a:gd name="connsiteX0" fmla="*/ 0 w 260195"/>
                  <a:gd name="connsiteY0" fmla="*/ 0 h 557561"/>
                  <a:gd name="connsiteX1" fmla="*/ 0 w 260195"/>
                  <a:gd name="connsiteY1" fmla="*/ 557561 h 557561"/>
                  <a:gd name="connsiteX2" fmla="*/ 260195 w 260195"/>
                  <a:gd name="connsiteY2" fmla="*/ 557561 h 557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0195" h="557561">
                    <a:moveTo>
                      <a:pt x="0" y="0"/>
                    </a:moveTo>
                    <a:lnTo>
                      <a:pt x="0" y="557561"/>
                    </a:lnTo>
                    <a:lnTo>
                      <a:pt x="260195" y="557561"/>
                    </a:lnTo>
                  </a:path>
                </a:pathLst>
              </a:custGeom>
              <a:noFill/>
              <a:ln>
                <a:solidFill>
                  <a:schemeClr val="accent1"/>
                </a:solidFill>
                <a:miter lim="800000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  <p:sp>
            <p:nvSpPr>
              <p:cNvPr id="16" name="Freeform 15"/>
              <p:cNvSpPr/>
              <p:nvPr/>
            </p:nvSpPr>
            <p:spPr bwMode="gray">
              <a:xfrm>
                <a:off x="501070" y="4081885"/>
                <a:ext cx="260195" cy="980016"/>
              </a:xfrm>
              <a:custGeom>
                <a:avLst/>
                <a:gdLst>
                  <a:gd name="connsiteX0" fmla="*/ 0 w 260195"/>
                  <a:gd name="connsiteY0" fmla="*/ 0 h 557561"/>
                  <a:gd name="connsiteX1" fmla="*/ 0 w 260195"/>
                  <a:gd name="connsiteY1" fmla="*/ 557561 h 557561"/>
                  <a:gd name="connsiteX2" fmla="*/ 260195 w 260195"/>
                  <a:gd name="connsiteY2" fmla="*/ 557561 h 557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0195" h="557561">
                    <a:moveTo>
                      <a:pt x="0" y="0"/>
                    </a:moveTo>
                    <a:lnTo>
                      <a:pt x="0" y="557561"/>
                    </a:lnTo>
                    <a:lnTo>
                      <a:pt x="260195" y="557561"/>
                    </a:lnTo>
                  </a:path>
                </a:pathLst>
              </a:custGeom>
              <a:noFill/>
              <a:ln>
                <a:solidFill>
                  <a:schemeClr val="accent1"/>
                </a:solidFill>
                <a:miter lim="800000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  <p:sp>
            <p:nvSpPr>
              <p:cNvPr id="17" name="Text Placeholder 4"/>
              <p:cNvSpPr txBox="1">
                <a:spLocks/>
              </p:cNvSpPr>
              <p:nvPr/>
            </p:nvSpPr>
            <p:spPr bwMode="gray">
              <a:xfrm>
                <a:off x="385763" y="2046420"/>
                <a:ext cx="1574698" cy="675031"/>
              </a:xfrm>
              <a:prstGeom prst="rect">
                <a:avLst/>
              </a:prstGeom>
              <a:solidFill>
                <a:schemeClr val="accent3">
                  <a:lumMod val="50000"/>
                </a:schemeClr>
              </a:solidFill>
              <a:ln w="2857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5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indent="0" algn="ctr"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accent2"/>
                  </a:buClr>
                  <a:buSzPct val="90000"/>
                  <a:buNone/>
                  <a:defRPr kumimoji="0" sz="2000" b="1" i="0" u="none" strike="noStrike" cap="none" normalizeH="0" baseline="0">
                    <a:ln>
                      <a:noFill/>
                    </a:ln>
                    <a:solidFill>
                      <a:schemeClr val="bg2"/>
                    </a:solidFill>
                    <a:effectLst/>
                    <a:latin typeface="+mj-lt"/>
                  </a:defRPr>
                </a:lvl1pPr>
                <a:lvl2pPr indent="0">
                  <a:buNone/>
                  <a:defRPr sz="2000" b="1"/>
                </a:lvl2pPr>
                <a:lvl3pPr indent="0">
                  <a:buNone/>
                  <a:defRPr b="1"/>
                </a:lvl3pPr>
                <a:lvl4pPr indent="0">
                  <a:buNone/>
                  <a:defRPr sz="1600" b="1"/>
                </a:lvl4pPr>
                <a:lvl5pPr indent="0">
                  <a:buNone/>
                  <a:defRPr sz="1600" b="1"/>
                </a:lvl5pPr>
                <a:lvl6pPr indent="0">
                  <a:buNone/>
                  <a:defRPr sz="1600" b="1"/>
                </a:lvl6pPr>
                <a:lvl7pPr indent="0">
                  <a:buNone/>
                  <a:defRPr sz="1600" b="1"/>
                </a:lvl7pPr>
                <a:lvl8pPr indent="0">
                  <a:buNone/>
                  <a:defRPr sz="1600" b="1"/>
                </a:lvl8pPr>
                <a:lvl9pPr indent="0">
                  <a:buNone/>
                  <a:defRPr sz="1600" b="1"/>
                </a:lvl9pPr>
              </a:lstStyle>
              <a:p>
                <a:pPr>
                  <a:lnSpc>
                    <a:spcPct val="100000"/>
                  </a:lnSpc>
                  <a:spcBef>
                    <a:spcPts val="0"/>
                  </a:spcBef>
                </a:pPr>
                <a:r>
                  <a:rPr lang="en-US" sz="1800" dirty="0">
                    <a:solidFill>
                      <a:schemeClr val="bg1"/>
                    </a:solidFill>
                  </a:rPr>
                  <a:t>Sample 1</a:t>
                </a:r>
              </a:p>
            </p:txBody>
          </p:sp>
          <p:sp>
            <p:nvSpPr>
              <p:cNvPr id="18" name="Text Placeholder 4"/>
              <p:cNvSpPr txBox="1">
                <a:spLocks/>
              </p:cNvSpPr>
              <p:nvPr/>
            </p:nvSpPr>
            <p:spPr bwMode="gray">
              <a:xfrm>
                <a:off x="731501" y="2937117"/>
                <a:ext cx="1228960" cy="675031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 w="2857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5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indent="0" algn="ctr"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accent2"/>
                  </a:buClr>
                  <a:buSzPct val="90000"/>
                  <a:buNone/>
                  <a:defRPr kumimoji="0" sz="2000" b="1" i="0" u="none" strike="noStrike" cap="none" normalizeH="0" baseline="0">
                    <a:ln>
                      <a:noFill/>
                    </a:ln>
                    <a:solidFill>
                      <a:schemeClr val="bg2"/>
                    </a:solidFill>
                    <a:effectLst/>
                    <a:latin typeface="+mj-lt"/>
                  </a:defRPr>
                </a:lvl1pPr>
                <a:lvl2pPr indent="0">
                  <a:buNone/>
                  <a:defRPr sz="2000" b="1"/>
                </a:lvl2pPr>
                <a:lvl3pPr indent="0">
                  <a:buNone/>
                  <a:defRPr b="1"/>
                </a:lvl3pPr>
                <a:lvl4pPr indent="0">
                  <a:buNone/>
                  <a:defRPr sz="1600" b="1"/>
                </a:lvl4pPr>
                <a:lvl5pPr indent="0">
                  <a:buNone/>
                  <a:defRPr sz="1600" b="1"/>
                </a:lvl5pPr>
                <a:lvl6pPr indent="0">
                  <a:buNone/>
                  <a:defRPr sz="1600" b="1"/>
                </a:lvl6pPr>
                <a:lvl7pPr indent="0">
                  <a:buNone/>
                  <a:defRPr sz="1600" b="1"/>
                </a:lvl7pPr>
                <a:lvl8pPr indent="0">
                  <a:buNone/>
                  <a:defRPr sz="1600" b="1"/>
                </a:lvl8pPr>
                <a:lvl9pPr indent="0">
                  <a:buNone/>
                  <a:defRPr sz="1600" b="1"/>
                </a:lvl9pPr>
              </a:lstStyle>
              <a:p>
                <a:pPr>
                  <a:lnSpc>
                    <a:spcPct val="100000"/>
                  </a:lnSpc>
                  <a:spcBef>
                    <a:spcPts val="0"/>
                  </a:spcBef>
                </a:pPr>
                <a:r>
                  <a:rPr lang="en-US" sz="1600" dirty="0">
                    <a:solidFill>
                      <a:schemeClr val="bg1"/>
                    </a:solidFill>
                  </a:rPr>
                  <a:t>Sample 1</a:t>
                </a:r>
              </a:p>
            </p:txBody>
          </p:sp>
          <p:sp>
            <p:nvSpPr>
              <p:cNvPr id="19" name="Text Placeholder 4"/>
              <p:cNvSpPr txBox="1">
                <a:spLocks/>
              </p:cNvSpPr>
              <p:nvPr/>
            </p:nvSpPr>
            <p:spPr bwMode="gray">
              <a:xfrm>
                <a:off x="731501" y="3827814"/>
                <a:ext cx="1228960" cy="675031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 w="2857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5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indent="0" algn="ctr"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accent2"/>
                  </a:buClr>
                  <a:buSzPct val="90000"/>
                  <a:buNone/>
                  <a:defRPr kumimoji="0" sz="2000" b="1" i="0" u="none" strike="noStrike" cap="none" normalizeH="0" baseline="0">
                    <a:ln>
                      <a:noFill/>
                    </a:ln>
                    <a:solidFill>
                      <a:schemeClr val="bg2"/>
                    </a:solidFill>
                    <a:effectLst/>
                    <a:latin typeface="+mj-lt"/>
                  </a:defRPr>
                </a:lvl1pPr>
                <a:lvl2pPr indent="0">
                  <a:buNone/>
                  <a:defRPr sz="2000" b="1"/>
                </a:lvl2pPr>
                <a:lvl3pPr indent="0">
                  <a:buNone/>
                  <a:defRPr b="1"/>
                </a:lvl3pPr>
                <a:lvl4pPr indent="0">
                  <a:buNone/>
                  <a:defRPr sz="1600" b="1"/>
                </a:lvl4pPr>
                <a:lvl5pPr indent="0">
                  <a:buNone/>
                  <a:defRPr sz="1600" b="1"/>
                </a:lvl5pPr>
                <a:lvl6pPr indent="0">
                  <a:buNone/>
                  <a:defRPr sz="1600" b="1"/>
                </a:lvl6pPr>
                <a:lvl7pPr indent="0">
                  <a:buNone/>
                  <a:defRPr sz="1600" b="1"/>
                </a:lvl7pPr>
                <a:lvl8pPr indent="0">
                  <a:buNone/>
                  <a:defRPr sz="1600" b="1"/>
                </a:lvl8pPr>
                <a:lvl9pPr indent="0">
                  <a:buNone/>
                  <a:defRPr sz="1600" b="1"/>
                </a:lvl9pPr>
              </a:lstStyle>
              <a:p>
                <a:pPr>
                  <a:lnSpc>
                    <a:spcPct val="100000"/>
                  </a:lnSpc>
                  <a:spcBef>
                    <a:spcPts val="0"/>
                  </a:spcBef>
                </a:pPr>
                <a:r>
                  <a:rPr lang="en-US" sz="1600" dirty="0">
                    <a:solidFill>
                      <a:schemeClr val="bg1"/>
                    </a:solidFill>
                  </a:rPr>
                  <a:t>Sample 1</a:t>
                </a:r>
              </a:p>
            </p:txBody>
          </p:sp>
          <p:sp>
            <p:nvSpPr>
              <p:cNvPr id="20" name="Text Placeholder 4"/>
              <p:cNvSpPr txBox="1">
                <a:spLocks/>
              </p:cNvSpPr>
              <p:nvPr/>
            </p:nvSpPr>
            <p:spPr bwMode="gray">
              <a:xfrm>
                <a:off x="731501" y="4718511"/>
                <a:ext cx="1228960" cy="675031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 w="2857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5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indent="0" algn="ctr"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accent2"/>
                  </a:buClr>
                  <a:buSzPct val="90000"/>
                  <a:buNone/>
                  <a:defRPr kumimoji="0" sz="2000" b="1" i="0" u="none" strike="noStrike" cap="none" normalizeH="0" baseline="0">
                    <a:ln>
                      <a:noFill/>
                    </a:ln>
                    <a:solidFill>
                      <a:schemeClr val="bg2"/>
                    </a:solidFill>
                    <a:effectLst/>
                    <a:latin typeface="+mj-lt"/>
                  </a:defRPr>
                </a:lvl1pPr>
                <a:lvl2pPr indent="0">
                  <a:buNone/>
                  <a:defRPr sz="2000" b="1"/>
                </a:lvl2pPr>
                <a:lvl3pPr indent="0">
                  <a:buNone/>
                  <a:defRPr b="1"/>
                </a:lvl3pPr>
                <a:lvl4pPr indent="0">
                  <a:buNone/>
                  <a:defRPr sz="1600" b="1"/>
                </a:lvl4pPr>
                <a:lvl5pPr indent="0">
                  <a:buNone/>
                  <a:defRPr sz="1600" b="1"/>
                </a:lvl5pPr>
                <a:lvl6pPr indent="0">
                  <a:buNone/>
                  <a:defRPr sz="1600" b="1"/>
                </a:lvl6pPr>
                <a:lvl7pPr indent="0">
                  <a:buNone/>
                  <a:defRPr sz="1600" b="1"/>
                </a:lvl7pPr>
                <a:lvl8pPr indent="0">
                  <a:buNone/>
                  <a:defRPr sz="1600" b="1"/>
                </a:lvl8pPr>
                <a:lvl9pPr indent="0">
                  <a:buNone/>
                  <a:defRPr sz="1600" b="1"/>
                </a:lvl9pPr>
              </a:lstStyle>
              <a:p>
                <a:pPr>
                  <a:lnSpc>
                    <a:spcPct val="100000"/>
                  </a:lnSpc>
                  <a:spcBef>
                    <a:spcPts val="0"/>
                  </a:spcBef>
                </a:pPr>
                <a:r>
                  <a:rPr lang="en-US" sz="1600" dirty="0">
                    <a:solidFill>
                      <a:schemeClr val="bg1"/>
                    </a:solidFill>
                  </a:rPr>
                  <a:t>Sample 1</a:t>
                </a:r>
              </a:p>
            </p:txBody>
          </p:sp>
        </p:grpSp>
        <p:grpSp>
          <p:nvGrpSpPr>
            <p:cNvPr id="21" name="Group 20"/>
            <p:cNvGrpSpPr/>
            <p:nvPr userDrawn="1"/>
          </p:nvGrpSpPr>
          <p:grpSpPr>
            <a:xfrm>
              <a:off x="3495609" y="2046420"/>
              <a:ext cx="2099051" cy="3347122"/>
              <a:chOff x="385763" y="2046420"/>
              <a:chExt cx="1574698" cy="3347122"/>
            </a:xfrm>
          </p:grpSpPr>
          <p:sp>
            <p:nvSpPr>
              <p:cNvPr id="22" name="Freeform 21"/>
              <p:cNvSpPr/>
              <p:nvPr/>
            </p:nvSpPr>
            <p:spPr bwMode="gray">
              <a:xfrm>
                <a:off x="501070" y="2602604"/>
                <a:ext cx="260195" cy="672776"/>
              </a:xfrm>
              <a:custGeom>
                <a:avLst/>
                <a:gdLst>
                  <a:gd name="connsiteX0" fmla="*/ 0 w 260195"/>
                  <a:gd name="connsiteY0" fmla="*/ 0 h 557561"/>
                  <a:gd name="connsiteX1" fmla="*/ 0 w 260195"/>
                  <a:gd name="connsiteY1" fmla="*/ 557561 h 557561"/>
                  <a:gd name="connsiteX2" fmla="*/ 260195 w 260195"/>
                  <a:gd name="connsiteY2" fmla="*/ 557561 h 557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0195" h="557561">
                    <a:moveTo>
                      <a:pt x="0" y="0"/>
                    </a:moveTo>
                    <a:lnTo>
                      <a:pt x="0" y="557561"/>
                    </a:lnTo>
                    <a:lnTo>
                      <a:pt x="260195" y="557561"/>
                    </a:lnTo>
                  </a:path>
                </a:pathLst>
              </a:custGeom>
              <a:noFill/>
              <a:ln>
                <a:solidFill>
                  <a:schemeClr val="accent1"/>
                </a:solidFill>
                <a:miter lim="800000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  <p:sp>
            <p:nvSpPr>
              <p:cNvPr id="23" name="Freeform 22"/>
              <p:cNvSpPr/>
              <p:nvPr/>
            </p:nvSpPr>
            <p:spPr bwMode="gray">
              <a:xfrm>
                <a:off x="501070" y="3236975"/>
                <a:ext cx="260195" cy="931665"/>
              </a:xfrm>
              <a:custGeom>
                <a:avLst/>
                <a:gdLst>
                  <a:gd name="connsiteX0" fmla="*/ 0 w 260195"/>
                  <a:gd name="connsiteY0" fmla="*/ 0 h 557561"/>
                  <a:gd name="connsiteX1" fmla="*/ 0 w 260195"/>
                  <a:gd name="connsiteY1" fmla="*/ 557561 h 557561"/>
                  <a:gd name="connsiteX2" fmla="*/ 260195 w 260195"/>
                  <a:gd name="connsiteY2" fmla="*/ 557561 h 557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0195" h="557561">
                    <a:moveTo>
                      <a:pt x="0" y="0"/>
                    </a:moveTo>
                    <a:lnTo>
                      <a:pt x="0" y="557561"/>
                    </a:lnTo>
                    <a:lnTo>
                      <a:pt x="260195" y="557561"/>
                    </a:lnTo>
                  </a:path>
                </a:pathLst>
              </a:custGeom>
              <a:noFill/>
              <a:ln>
                <a:solidFill>
                  <a:schemeClr val="accent1"/>
                </a:solidFill>
                <a:miter lim="800000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  <p:sp>
            <p:nvSpPr>
              <p:cNvPr id="24" name="Freeform 23"/>
              <p:cNvSpPr/>
              <p:nvPr/>
            </p:nvSpPr>
            <p:spPr bwMode="gray">
              <a:xfrm>
                <a:off x="501070" y="4081885"/>
                <a:ext cx="260195" cy="980016"/>
              </a:xfrm>
              <a:custGeom>
                <a:avLst/>
                <a:gdLst>
                  <a:gd name="connsiteX0" fmla="*/ 0 w 260195"/>
                  <a:gd name="connsiteY0" fmla="*/ 0 h 557561"/>
                  <a:gd name="connsiteX1" fmla="*/ 0 w 260195"/>
                  <a:gd name="connsiteY1" fmla="*/ 557561 h 557561"/>
                  <a:gd name="connsiteX2" fmla="*/ 260195 w 260195"/>
                  <a:gd name="connsiteY2" fmla="*/ 557561 h 557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0195" h="557561">
                    <a:moveTo>
                      <a:pt x="0" y="0"/>
                    </a:moveTo>
                    <a:lnTo>
                      <a:pt x="0" y="557561"/>
                    </a:lnTo>
                    <a:lnTo>
                      <a:pt x="260195" y="557561"/>
                    </a:lnTo>
                  </a:path>
                </a:pathLst>
              </a:custGeom>
              <a:noFill/>
              <a:ln>
                <a:solidFill>
                  <a:schemeClr val="accent1"/>
                </a:solidFill>
                <a:miter lim="800000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  <p:sp>
            <p:nvSpPr>
              <p:cNvPr id="25" name="Text Placeholder 4"/>
              <p:cNvSpPr txBox="1">
                <a:spLocks/>
              </p:cNvSpPr>
              <p:nvPr/>
            </p:nvSpPr>
            <p:spPr bwMode="gray">
              <a:xfrm>
                <a:off x="385763" y="2046420"/>
                <a:ext cx="1574698" cy="675031"/>
              </a:xfrm>
              <a:prstGeom prst="rect">
                <a:avLst/>
              </a:prstGeom>
              <a:solidFill>
                <a:schemeClr val="accent3">
                  <a:lumMod val="50000"/>
                </a:schemeClr>
              </a:solidFill>
              <a:ln w="2857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5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indent="0" algn="ctr"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accent2"/>
                  </a:buClr>
                  <a:buSzPct val="90000"/>
                  <a:buNone/>
                  <a:defRPr kumimoji="0" sz="2000" b="1" i="0" u="none" strike="noStrike" cap="none" normalizeH="0" baseline="0">
                    <a:ln>
                      <a:noFill/>
                    </a:ln>
                    <a:solidFill>
                      <a:schemeClr val="bg2"/>
                    </a:solidFill>
                    <a:effectLst/>
                    <a:latin typeface="+mj-lt"/>
                  </a:defRPr>
                </a:lvl1pPr>
                <a:lvl2pPr indent="0">
                  <a:buNone/>
                  <a:defRPr sz="2000" b="1"/>
                </a:lvl2pPr>
                <a:lvl3pPr indent="0">
                  <a:buNone/>
                  <a:defRPr b="1"/>
                </a:lvl3pPr>
                <a:lvl4pPr indent="0">
                  <a:buNone/>
                  <a:defRPr sz="1600" b="1"/>
                </a:lvl4pPr>
                <a:lvl5pPr indent="0">
                  <a:buNone/>
                  <a:defRPr sz="1600" b="1"/>
                </a:lvl5pPr>
                <a:lvl6pPr indent="0">
                  <a:buNone/>
                  <a:defRPr sz="1600" b="1"/>
                </a:lvl6pPr>
                <a:lvl7pPr indent="0">
                  <a:buNone/>
                  <a:defRPr sz="1600" b="1"/>
                </a:lvl7pPr>
                <a:lvl8pPr indent="0">
                  <a:buNone/>
                  <a:defRPr sz="1600" b="1"/>
                </a:lvl8pPr>
                <a:lvl9pPr indent="0">
                  <a:buNone/>
                  <a:defRPr sz="1600" b="1"/>
                </a:lvl9pPr>
              </a:lstStyle>
              <a:p>
                <a:pPr>
                  <a:lnSpc>
                    <a:spcPct val="100000"/>
                  </a:lnSpc>
                  <a:spcBef>
                    <a:spcPts val="0"/>
                  </a:spcBef>
                </a:pPr>
                <a:r>
                  <a:rPr lang="en-US" sz="1800" dirty="0">
                    <a:solidFill>
                      <a:schemeClr val="bg1"/>
                    </a:solidFill>
                  </a:rPr>
                  <a:t>Sample 1</a:t>
                </a:r>
              </a:p>
            </p:txBody>
          </p:sp>
          <p:sp>
            <p:nvSpPr>
              <p:cNvPr id="26" name="Text Placeholder 4"/>
              <p:cNvSpPr txBox="1">
                <a:spLocks/>
              </p:cNvSpPr>
              <p:nvPr/>
            </p:nvSpPr>
            <p:spPr bwMode="gray">
              <a:xfrm>
                <a:off x="731501" y="2937117"/>
                <a:ext cx="1228960" cy="675031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 w="2857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5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indent="0" algn="ctr"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accent2"/>
                  </a:buClr>
                  <a:buSzPct val="90000"/>
                  <a:buNone/>
                  <a:defRPr kumimoji="0" sz="2000" b="1" i="0" u="none" strike="noStrike" cap="none" normalizeH="0" baseline="0">
                    <a:ln>
                      <a:noFill/>
                    </a:ln>
                    <a:solidFill>
                      <a:schemeClr val="bg2"/>
                    </a:solidFill>
                    <a:effectLst/>
                    <a:latin typeface="+mj-lt"/>
                  </a:defRPr>
                </a:lvl1pPr>
                <a:lvl2pPr indent="0">
                  <a:buNone/>
                  <a:defRPr sz="2000" b="1"/>
                </a:lvl2pPr>
                <a:lvl3pPr indent="0">
                  <a:buNone/>
                  <a:defRPr b="1"/>
                </a:lvl3pPr>
                <a:lvl4pPr indent="0">
                  <a:buNone/>
                  <a:defRPr sz="1600" b="1"/>
                </a:lvl4pPr>
                <a:lvl5pPr indent="0">
                  <a:buNone/>
                  <a:defRPr sz="1600" b="1"/>
                </a:lvl5pPr>
                <a:lvl6pPr indent="0">
                  <a:buNone/>
                  <a:defRPr sz="1600" b="1"/>
                </a:lvl6pPr>
                <a:lvl7pPr indent="0">
                  <a:buNone/>
                  <a:defRPr sz="1600" b="1"/>
                </a:lvl7pPr>
                <a:lvl8pPr indent="0">
                  <a:buNone/>
                  <a:defRPr sz="1600" b="1"/>
                </a:lvl8pPr>
                <a:lvl9pPr indent="0">
                  <a:buNone/>
                  <a:defRPr sz="1600" b="1"/>
                </a:lvl9pPr>
              </a:lstStyle>
              <a:p>
                <a:pPr>
                  <a:lnSpc>
                    <a:spcPct val="100000"/>
                  </a:lnSpc>
                  <a:spcBef>
                    <a:spcPts val="0"/>
                  </a:spcBef>
                </a:pPr>
                <a:r>
                  <a:rPr lang="en-US" sz="1600" dirty="0">
                    <a:solidFill>
                      <a:schemeClr val="bg1"/>
                    </a:solidFill>
                  </a:rPr>
                  <a:t>Sample 1</a:t>
                </a:r>
              </a:p>
            </p:txBody>
          </p:sp>
          <p:sp>
            <p:nvSpPr>
              <p:cNvPr id="27" name="Text Placeholder 4"/>
              <p:cNvSpPr txBox="1">
                <a:spLocks/>
              </p:cNvSpPr>
              <p:nvPr/>
            </p:nvSpPr>
            <p:spPr bwMode="gray">
              <a:xfrm>
                <a:off x="731501" y="3827814"/>
                <a:ext cx="1228960" cy="675031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 w="2857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5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indent="0" algn="ctr"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accent2"/>
                  </a:buClr>
                  <a:buSzPct val="90000"/>
                  <a:buNone/>
                  <a:defRPr kumimoji="0" sz="2000" b="1" i="0" u="none" strike="noStrike" cap="none" normalizeH="0" baseline="0">
                    <a:ln>
                      <a:noFill/>
                    </a:ln>
                    <a:solidFill>
                      <a:schemeClr val="bg2"/>
                    </a:solidFill>
                    <a:effectLst/>
                    <a:latin typeface="+mj-lt"/>
                  </a:defRPr>
                </a:lvl1pPr>
                <a:lvl2pPr indent="0">
                  <a:buNone/>
                  <a:defRPr sz="2000" b="1"/>
                </a:lvl2pPr>
                <a:lvl3pPr indent="0">
                  <a:buNone/>
                  <a:defRPr b="1"/>
                </a:lvl3pPr>
                <a:lvl4pPr indent="0">
                  <a:buNone/>
                  <a:defRPr sz="1600" b="1"/>
                </a:lvl4pPr>
                <a:lvl5pPr indent="0">
                  <a:buNone/>
                  <a:defRPr sz="1600" b="1"/>
                </a:lvl5pPr>
                <a:lvl6pPr indent="0">
                  <a:buNone/>
                  <a:defRPr sz="1600" b="1"/>
                </a:lvl6pPr>
                <a:lvl7pPr indent="0">
                  <a:buNone/>
                  <a:defRPr sz="1600" b="1"/>
                </a:lvl7pPr>
                <a:lvl8pPr indent="0">
                  <a:buNone/>
                  <a:defRPr sz="1600" b="1"/>
                </a:lvl8pPr>
                <a:lvl9pPr indent="0">
                  <a:buNone/>
                  <a:defRPr sz="1600" b="1"/>
                </a:lvl9pPr>
              </a:lstStyle>
              <a:p>
                <a:pPr>
                  <a:lnSpc>
                    <a:spcPct val="100000"/>
                  </a:lnSpc>
                  <a:spcBef>
                    <a:spcPts val="0"/>
                  </a:spcBef>
                </a:pPr>
                <a:r>
                  <a:rPr lang="en-US" sz="1600" dirty="0">
                    <a:solidFill>
                      <a:schemeClr val="bg1"/>
                    </a:solidFill>
                  </a:rPr>
                  <a:t>Sample 1</a:t>
                </a:r>
              </a:p>
            </p:txBody>
          </p:sp>
          <p:sp>
            <p:nvSpPr>
              <p:cNvPr id="28" name="Text Placeholder 4"/>
              <p:cNvSpPr txBox="1">
                <a:spLocks/>
              </p:cNvSpPr>
              <p:nvPr/>
            </p:nvSpPr>
            <p:spPr bwMode="gray">
              <a:xfrm>
                <a:off x="731501" y="4718511"/>
                <a:ext cx="1228960" cy="675031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 w="2857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5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indent="0" algn="ctr"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accent2"/>
                  </a:buClr>
                  <a:buSzPct val="90000"/>
                  <a:buNone/>
                  <a:defRPr kumimoji="0" sz="2000" b="1" i="0" u="none" strike="noStrike" cap="none" normalizeH="0" baseline="0">
                    <a:ln>
                      <a:noFill/>
                    </a:ln>
                    <a:solidFill>
                      <a:schemeClr val="bg2"/>
                    </a:solidFill>
                    <a:effectLst/>
                    <a:latin typeface="+mj-lt"/>
                  </a:defRPr>
                </a:lvl1pPr>
                <a:lvl2pPr indent="0">
                  <a:buNone/>
                  <a:defRPr sz="2000" b="1"/>
                </a:lvl2pPr>
                <a:lvl3pPr indent="0">
                  <a:buNone/>
                  <a:defRPr b="1"/>
                </a:lvl3pPr>
                <a:lvl4pPr indent="0">
                  <a:buNone/>
                  <a:defRPr sz="1600" b="1"/>
                </a:lvl4pPr>
                <a:lvl5pPr indent="0">
                  <a:buNone/>
                  <a:defRPr sz="1600" b="1"/>
                </a:lvl5pPr>
                <a:lvl6pPr indent="0">
                  <a:buNone/>
                  <a:defRPr sz="1600" b="1"/>
                </a:lvl6pPr>
                <a:lvl7pPr indent="0">
                  <a:buNone/>
                  <a:defRPr sz="1600" b="1"/>
                </a:lvl7pPr>
                <a:lvl8pPr indent="0">
                  <a:buNone/>
                  <a:defRPr sz="1600" b="1"/>
                </a:lvl8pPr>
                <a:lvl9pPr indent="0">
                  <a:buNone/>
                  <a:defRPr sz="1600" b="1"/>
                </a:lvl9pPr>
              </a:lstStyle>
              <a:p>
                <a:pPr>
                  <a:lnSpc>
                    <a:spcPct val="100000"/>
                  </a:lnSpc>
                  <a:spcBef>
                    <a:spcPts val="0"/>
                  </a:spcBef>
                </a:pPr>
                <a:r>
                  <a:rPr lang="en-US" sz="1600" dirty="0">
                    <a:solidFill>
                      <a:schemeClr val="bg1"/>
                    </a:solidFill>
                  </a:rPr>
                  <a:t>Sample 1</a:t>
                </a:r>
              </a:p>
            </p:txBody>
          </p:sp>
        </p:grpSp>
        <p:grpSp>
          <p:nvGrpSpPr>
            <p:cNvPr id="29" name="Group 28"/>
            <p:cNvGrpSpPr/>
            <p:nvPr userDrawn="1"/>
          </p:nvGrpSpPr>
          <p:grpSpPr>
            <a:xfrm>
              <a:off x="6477000" y="2046420"/>
              <a:ext cx="2099051" cy="3347122"/>
              <a:chOff x="385763" y="2046420"/>
              <a:chExt cx="1574698" cy="3347122"/>
            </a:xfrm>
          </p:grpSpPr>
          <p:sp>
            <p:nvSpPr>
              <p:cNvPr id="30" name="Freeform 29"/>
              <p:cNvSpPr/>
              <p:nvPr/>
            </p:nvSpPr>
            <p:spPr bwMode="gray">
              <a:xfrm>
                <a:off x="501070" y="2602604"/>
                <a:ext cx="260195" cy="672776"/>
              </a:xfrm>
              <a:custGeom>
                <a:avLst/>
                <a:gdLst>
                  <a:gd name="connsiteX0" fmla="*/ 0 w 260195"/>
                  <a:gd name="connsiteY0" fmla="*/ 0 h 557561"/>
                  <a:gd name="connsiteX1" fmla="*/ 0 w 260195"/>
                  <a:gd name="connsiteY1" fmla="*/ 557561 h 557561"/>
                  <a:gd name="connsiteX2" fmla="*/ 260195 w 260195"/>
                  <a:gd name="connsiteY2" fmla="*/ 557561 h 557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0195" h="557561">
                    <a:moveTo>
                      <a:pt x="0" y="0"/>
                    </a:moveTo>
                    <a:lnTo>
                      <a:pt x="0" y="557561"/>
                    </a:lnTo>
                    <a:lnTo>
                      <a:pt x="260195" y="557561"/>
                    </a:lnTo>
                  </a:path>
                </a:pathLst>
              </a:custGeom>
              <a:noFill/>
              <a:ln>
                <a:solidFill>
                  <a:schemeClr val="accent1"/>
                </a:solidFill>
                <a:miter lim="800000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  <p:sp>
            <p:nvSpPr>
              <p:cNvPr id="31" name="Freeform 30"/>
              <p:cNvSpPr/>
              <p:nvPr/>
            </p:nvSpPr>
            <p:spPr bwMode="gray">
              <a:xfrm>
                <a:off x="501070" y="3236975"/>
                <a:ext cx="260195" cy="931665"/>
              </a:xfrm>
              <a:custGeom>
                <a:avLst/>
                <a:gdLst>
                  <a:gd name="connsiteX0" fmla="*/ 0 w 260195"/>
                  <a:gd name="connsiteY0" fmla="*/ 0 h 557561"/>
                  <a:gd name="connsiteX1" fmla="*/ 0 w 260195"/>
                  <a:gd name="connsiteY1" fmla="*/ 557561 h 557561"/>
                  <a:gd name="connsiteX2" fmla="*/ 260195 w 260195"/>
                  <a:gd name="connsiteY2" fmla="*/ 557561 h 557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0195" h="557561">
                    <a:moveTo>
                      <a:pt x="0" y="0"/>
                    </a:moveTo>
                    <a:lnTo>
                      <a:pt x="0" y="557561"/>
                    </a:lnTo>
                    <a:lnTo>
                      <a:pt x="260195" y="557561"/>
                    </a:lnTo>
                  </a:path>
                </a:pathLst>
              </a:custGeom>
              <a:noFill/>
              <a:ln>
                <a:solidFill>
                  <a:schemeClr val="accent1"/>
                </a:solidFill>
                <a:miter lim="800000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  <p:sp>
            <p:nvSpPr>
              <p:cNvPr id="32" name="Freeform 31"/>
              <p:cNvSpPr/>
              <p:nvPr/>
            </p:nvSpPr>
            <p:spPr bwMode="gray">
              <a:xfrm>
                <a:off x="501070" y="4081885"/>
                <a:ext cx="260195" cy="980016"/>
              </a:xfrm>
              <a:custGeom>
                <a:avLst/>
                <a:gdLst>
                  <a:gd name="connsiteX0" fmla="*/ 0 w 260195"/>
                  <a:gd name="connsiteY0" fmla="*/ 0 h 557561"/>
                  <a:gd name="connsiteX1" fmla="*/ 0 w 260195"/>
                  <a:gd name="connsiteY1" fmla="*/ 557561 h 557561"/>
                  <a:gd name="connsiteX2" fmla="*/ 260195 w 260195"/>
                  <a:gd name="connsiteY2" fmla="*/ 557561 h 557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0195" h="557561">
                    <a:moveTo>
                      <a:pt x="0" y="0"/>
                    </a:moveTo>
                    <a:lnTo>
                      <a:pt x="0" y="557561"/>
                    </a:lnTo>
                    <a:lnTo>
                      <a:pt x="260195" y="557561"/>
                    </a:lnTo>
                  </a:path>
                </a:pathLst>
              </a:custGeom>
              <a:noFill/>
              <a:ln>
                <a:solidFill>
                  <a:schemeClr val="accent1"/>
                </a:solidFill>
                <a:miter lim="800000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  <p:sp>
            <p:nvSpPr>
              <p:cNvPr id="33" name="Text Placeholder 4"/>
              <p:cNvSpPr txBox="1">
                <a:spLocks/>
              </p:cNvSpPr>
              <p:nvPr/>
            </p:nvSpPr>
            <p:spPr bwMode="gray">
              <a:xfrm>
                <a:off x="385763" y="2046420"/>
                <a:ext cx="1574698" cy="675031"/>
              </a:xfrm>
              <a:prstGeom prst="rect">
                <a:avLst/>
              </a:prstGeom>
              <a:solidFill>
                <a:schemeClr val="accent3">
                  <a:lumMod val="50000"/>
                </a:schemeClr>
              </a:solidFill>
              <a:ln w="2857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5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indent="0" algn="ctr"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accent2"/>
                  </a:buClr>
                  <a:buSzPct val="90000"/>
                  <a:buNone/>
                  <a:defRPr kumimoji="0" sz="2000" b="1" i="0" u="none" strike="noStrike" cap="none" normalizeH="0" baseline="0">
                    <a:ln>
                      <a:noFill/>
                    </a:ln>
                    <a:solidFill>
                      <a:schemeClr val="bg2"/>
                    </a:solidFill>
                    <a:effectLst/>
                    <a:latin typeface="+mj-lt"/>
                  </a:defRPr>
                </a:lvl1pPr>
                <a:lvl2pPr indent="0">
                  <a:buNone/>
                  <a:defRPr sz="2000" b="1"/>
                </a:lvl2pPr>
                <a:lvl3pPr indent="0">
                  <a:buNone/>
                  <a:defRPr b="1"/>
                </a:lvl3pPr>
                <a:lvl4pPr indent="0">
                  <a:buNone/>
                  <a:defRPr sz="1600" b="1"/>
                </a:lvl4pPr>
                <a:lvl5pPr indent="0">
                  <a:buNone/>
                  <a:defRPr sz="1600" b="1"/>
                </a:lvl5pPr>
                <a:lvl6pPr indent="0">
                  <a:buNone/>
                  <a:defRPr sz="1600" b="1"/>
                </a:lvl6pPr>
                <a:lvl7pPr indent="0">
                  <a:buNone/>
                  <a:defRPr sz="1600" b="1"/>
                </a:lvl7pPr>
                <a:lvl8pPr indent="0">
                  <a:buNone/>
                  <a:defRPr sz="1600" b="1"/>
                </a:lvl8pPr>
                <a:lvl9pPr indent="0">
                  <a:buNone/>
                  <a:defRPr sz="1600" b="1"/>
                </a:lvl9pPr>
              </a:lstStyle>
              <a:p>
                <a:pPr>
                  <a:lnSpc>
                    <a:spcPct val="100000"/>
                  </a:lnSpc>
                  <a:spcBef>
                    <a:spcPts val="0"/>
                  </a:spcBef>
                </a:pPr>
                <a:r>
                  <a:rPr lang="en-US" sz="1800" dirty="0">
                    <a:solidFill>
                      <a:schemeClr val="bg1"/>
                    </a:solidFill>
                  </a:rPr>
                  <a:t>Sample 1</a:t>
                </a:r>
              </a:p>
            </p:txBody>
          </p:sp>
          <p:sp>
            <p:nvSpPr>
              <p:cNvPr id="34" name="Text Placeholder 4"/>
              <p:cNvSpPr txBox="1">
                <a:spLocks/>
              </p:cNvSpPr>
              <p:nvPr/>
            </p:nvSpPr>
            <p:spPr bwMode="gray">
              <a:xfrm>
                <a:off x="731501" y="2937117"/>
                <a:ext cx="1228960" cy="675031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 w="2857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5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indent="0" algn="ctr"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accent2"/>
                  </a:buClr>
                  <a:buSzPct val="90000"/>
                  <a:buNone/>
                  <a:defRPr kumimoji="0" sz="2000" b="1" i="0" u="none" strike="noStrike" cap="none" normalizeH="0" baseline="0">
                    <a:ln>
                      <a:noFill/>
                    </a:ln>
                    <a:solidFill>
                      <a:schemeClr val="bg2"/>
                    </a:solidFill>
                    <a:effectLst/>
                    <a:latin typeface="+mj-lt"/>
                  </a:defRPr>
                </a:lvl1pPr>
                <a:lvl2pPr indent="0">
                  <a:buNone/>
                  <a:defRPr sz="2000" b="1"/>
                </a:lvl2pPr>
                <a:lvl3pPr indent="0">
                  <a:buNone/>
                  <a:defRPr b="1"/>
                </a:lvl3pPr>
                <a:lvl4pPr indent="0">
                  <a:buNone/>
                  <a:defRPr sz="1600" b="1"/>
                </a:lvl4pPr>
                <a:lvl5pPr indent="0">
                  <a:buNone/>
                  <a:defRPr sz="1600" b="1"/>
                </a:lvl5pPr>
                <a:lvl6pPr indent="0">
                  <a:buNone/>
                  <a:defRPr sz="1600" b="1"/>
                </a:lvl6pPr>
                <a:lvl7pPr indent="0">
                  <a:buNone/>
                  <a:defRPr sz="1600" b="1"/>
                </a:lvl7pPr>
                <a:lvl8pPr indent="0">
                  <a:buNone/>
                  <a:defRPr sz="1600" b="1"/>
                </a:lvl8pPr>
                <a:lvl9pPr indent="0">
                  <a:buNone/>
                  <a:defRPr sz="1600" b="1"/>
                </a:lvl9pPr>
              </a:lstStyle>
              <a:p>
                <a:pPr>
                  <a:lnSpc>
                    <a:spcPct val="100000"/>
                  </a:lnSpc>
                  <a:spcBef>
                    <a:spcPts val="0"/>
                  </a:spcBef>
                </a:pPr>
                <a:r>
                  <a:rPr lang="en-US" sz="1600" dirty="0">
                    <a:solidFill>
                      <a:schemeClr val="bg1"/>
                    </a:solidFill>
                  </a:rPr>
                  <a:t>Sample 1</a:t>
                </a:r>
              </a:p>
            </p:txBody>
          </p:sp>
          <p:sp>
            <p:nvSpPr>
              <p:cNvPr id="35" name="Text Placeholder 4"/>
              <p:cNvSpPr txBox="1">
                <a:spLocks/>
              </p:cNvSpPr>
              <p:nvPr/>
            </p:nvSpPr>
            <p:spPr bwMode="gray">
              <a:xfrm>
                <a:off x="731501" y="3827814"/>
                <a:ext cx="1228960" cy="675031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 w="2857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5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indent="0" algn="ctr"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accent2"/>
                  </a:buClr>
                  <a:buSzPct val="90000"/>
                  <a:buNone/>
                  <a:defRPr kumimoji="0" sz="2000" b="1" i="0" u="none" strike="noStrike" cap="none" normalizeH="0" baseline="0">
                    <a:ln>
                      <a:noFill/>
                    </a:ln>
                    <a:solidFill>
                      <a:schemeClr val="bg2"/>
                    </a:solidFill>
                    <a:effectLst/>
                    <a:latin typeface="+mj-lt"/>
                  </a:defRPr>
                </a:lvl1pPr>
                <a:lvl2pPr indent="0">
                  <a:buNone/>
                  <a:defRPr sz="2000" b="1"/>
                </a:lvl2pPr>
                <a:lvl3pPr indent="0">
                  <a:buNone/>
                  <a:defRPr b="1"/>
                </a:lvl3pPr>
                <a:lvl4pPr indent="0">
                  <a:buNone/>
                  <a:defRPr sz="1600" b="1"/>
                </a:lvl4pPr>
                <a:lvl5pPr indent="0">
                  <a:buNone/>
                  <a:defRPr sz="1600" b="1"/>
                </a:lvl5pPr>
                <a:lvl6pPr indent="0">
                  <a:buNone/>
                  <a:defRPr sz="1600" b="1"/>
                </a:lvl6pPr>
                <a:lvl7pPr indent="0">
                  <a:buNone/>
                  <a:defRPr sz="1600" b="1"/>
                </a:lvl7pPr>
                <a:lvl8pPr indent="0">
                  <a:buNone/>
                  <a:defRPr sz="1600" b="1"/>
                </a:lvl8pPr>
                <a:lvl9pPr indent="0">
                  <a:buNone/>
                  <a:defRPr sz="1600" b="1"/>
                </a:lvl9pPr>
              </a:lstStyle>
              <a:p>
                <a:pPr>
                  <a:lnSpc>
                    <a:spcPct val="100000"/>
                  </a:lnSpc>
                  <a:spcBef>
                    <a:spcPts val="0"/>
                  </a:spcBef>
                </a:pPr>
                <a:r>
                  <a:rPr lang="en-US" sz="1600" dirty="0">
                    <a:solidFill>
                      <a:schemeClr val="bg1"/>
                    </a:solidFill>
                  </a:rPr>
                  <a:t>Sample 1</a:t>
                </a:r>
              </a:p>
            </p:txBody>
          </p:sp>
          <p:sp>
            <p:nvSpPr>
              <p:cNvPr id="36" name="Text Placeholder 4"/>
              <p:cNvSpPr txBox="1">
                <a:spLocks/>
              </p:cNvSpPr>
              <p:nvPr/>
            </p:nvSpPr>
            <p:spPr bwMode="gray">
              <a:xfrm>
                <a:off x="731501" y="4718511"/>
                <a:ext cx="1228960" cy="675031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 w="2857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5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indent="0" algn="ctr"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accent2"/>
                  </a:buClr>
                  <a:buSzPct val="90000"/>
                  <a:buNone/>
                  <a:defRPr kumimoji="0" sz="2000" b="1" i="0" u="none" strike="noStrike" cap="none" normalizeH="0" baseline="0">
                    <a:ln>
                      <a:noFill/>
                    </a:ln>
                    <a:solidFill>
                      <a:schemeClr val="bg2"/>
                    </a:solidFill>
                    <a:effectLst/>
                    <a:latin typeface="+mj-lt"/>
                  </a:defRPr>
                </a:lvl1pPr>
                <a:lvl2pPr indent="0">
                  <a:buNone/>
                  <a:defRPr sz="2000" b="1"/>
                </a:lvl2pPr>
                <a:lvl3pPr indent="0">
                  <a:buNone/>
                  <a:defRPr b="1"/>
                </a:lvl3pPr>
                <a:lvl4pPr indent="0">
                  <a:buNone/>
                  <a:defRPr sz="1600" b="1"/>
                </a:lvl4pPr>
                <a:lvl5pPr indent="0">
                  <a:buNone/>
                  <a:defRPr sz="1600" b="1"/>
                </a:lvl5pPr>
                <a:lvl6pPr indent="0">
                  <a:buNone/>
                  <a:defRPr sz="1600" b="1"/>
                </a:lvl6pPr>
                <a:lvl7pPr indent="0">
                  <a:buNone/>
                  <a:defRPr sz="1600" b="1"/>
                </a:lvl7pPr>
                <a:lvl8pPr indent="0">
                  <a:buNone/>
                  <a:defRPr sz="1600" b="1"/>
                </a:lvl8pPr>
                <a:lvl9pPr indent="0">
                  <a:buNone/>
                  <a:defRPr sz="1600" b="1"/>
                </a:lvl9pPr>
              </a:lstStyle>
              <a:p>
                <a:pPr>
                  <a:lnSpc>
                    <a:spcPct val="100000"/>
                  </a:lnSpc>
                  <a:spcBef>
                    <a:spcPts val="0"/>
                  </a:spcBef>
                </a:pPr>
                <a:r>
                  <a:rPr lang="en-US" sz="1600" dirty="0">
                    <a:solidFill>
                      <a:schemeClr val="bg1"/>
                    </a:solidFill>
                  </a:rPr>
                  <a:t>Sample 1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131778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" y="274638"/>
            <a:ext cx="8503920" cy="914400"/>
          </a:xfrm>
        </p:spPr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ircle Graph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0040" y="6356350"/>
            <a:ext cx="2133600" cy="365125"/>
          </a:xfrm>
        </p:spPr>
        <p:txBody>
          <a:bodyPr/>
          <a:lstStyle/>
          <a:p>
            <a:fld id="{23E123D6-A26F-48C4-B68B-48002B28495B}" type="slidenum">
              <a:rPr lang="en-US" smtClean="0"/>
              <a:pPr/>
              <a:t>‹#›</a:t>
            </a:fld>
            <a:r>
              <a:rPr lang="en-US" dirty="0"/>
              <a:t> </a:t>
            </a:r>
            <a:r>
              <a:rPr lang="en-US" dirty="0">
                <a:sym typeface="Symbol"/>
              </a:rPr>
              <a:t>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81000" y="1189038"/>
            <a:ext cx="8382000" cy="0"/>
          </a:xfrm>
          <a:prstGeom prst="line">
            <a:avLst/>
          </a:prstGeom>
          <a:ln w="47625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28 October 2015</a:t>
            </a:r>
          </a:p>
        </p:txBody>
      </p:sp>
      <p:grpSp>
        <p:nvGrpSpPr>
          <p:cNvPr id="53" name="Group 52"/>
          <p:cNvGrpSpPr/>
          <p:nvPr userDrawn="1"/>
        </p:nvGrpSpPr>
        <p:grpSpPr>
          <a:xfrm>
            <a:off x="592231" y="1352263"/>
            <a:ext cx="7959538" cy="4591337"/>
            <a:chOff x="381000" y="1547767"/>
            <a:chExt cx="7959538" cy="4591337"/>
          </a:xfrm>
        </p:grpSpPr>
        <p:grpSp>
          <p:nvGrpSpPr>
            <p:cNvPr id="50" name="Group 49"/>
            <p:cNvGrpSpPr/>
            <p:nvPr userDrawn="1"/>
          </p:nvGrpSpPr>
          <p:grpSpPr>
            <a:xfrm flipH="1">
              <a:off x="5245755" y="3234015"/>
              <a:ext cx="1295400" cy="1185585"/>
              <a:chOff x="2133600" y="3234015"/>
              <a:chExt cx="1295400" cy="1185585"/>
            </a:xfrm>
          </p:grpSpPr>
          <p:cxnSp>
            <p:nvCxnSpPr>
              <p:cNvPr id="51" name="Straight Connector 50"/>
              <p:cNvCxnSpPr/>
              <p:nvPr userDrawn="1"/>
            </p:nvCxnSpPr>
            <p:spPr>
              <a:xfrm flipV="1">
                <a:off x="2133600" y="3919815"/>
                <a:ext cx="1295400" cy="499785"/>
              </a:xfrm>
              <a:prstGeom prst="line">
                <a:avLst/>
              </a:prstGeom>
              <a:ln w="38100" cap="rnd">
                <a:solidFill>
                  <a:schemeClr val="bg1">
                    <a:lumMod val="6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/>
              <p:cNvCxnSpPr/>
              <p:nvPr userDrawn="1"/>
            </p:nvCxnSpPr>
            <p:spPr>
              <a:xfrm>
                <a:off x="2133600" y="3234015"/>
                <a:ext cx="1295400" cy="499785"/>
              </a:xfrm>
              <a:prstGeom prst="line">
                <a:avLst/>
              </a:prstGeom>
              <a:ln w="38100" cap="rnd">
                <a:solidFill>
                  <a:schemeClr val="bg1">
                    <a:lumMod val="6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6" name="Straight Connector 45"/>
            <p:cNvCxnSpPr/>
            <p:nvPr userDrawn="1"/>
          </p:nvCxnSpPr>
          <p:spPr>
            <a:xfrm>
              <a:off x="4360769" y="4389120"/>
              <a:ext cx="0" cy="640080"/>
            </a:xfrm>
            <a:prstGeom prst="line">
              <a:avLst/>
            </a:prstGeom>
            <a:ln w="38100" cap="rnd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360769" y="2770563"/>
              <a:ext cx="0" cy="640080"/>
            </a:xfrm>
            <a:prstGeom prst="line">
              <a:avLst/>
            </a:prstGeom>
            <a:ln w="38100" cap="rnd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9" name="Group 48"/>
            <p:cNvGrpSpPr/>
            <p:nvPr userDrawn="1"/>
          </p:nvGrpSpPr>
          <p:grpSpPr>
            <a:xfrm>
              <a:off x="2180385" y="3234015"/>
              <a:ext cx="1295400" cy="1185585"/>
              <a:chOff x="2133600" y="3234015"/>
              <a:chExt cx="1295400" cy="1185585"/>
            </a:xfrm>
          </p:grpSpPr>
          <p:cxnSp>
            <p:nvCxnSpPr>
              <p:cNvPr id="48" name="Straight Connector 47"/>
              <p:cNvCxnSpPr/>
              <p:nvPr userDrawn="1"/>
            </p:nvCxnSpPr>
            <p:spPr>
              <a:xfrm flipV="1">
                <a:off x="2133600" y="3919815"/>
                <a:ext cx="1295400" cy="499785"/>
              </a:xfrm>
              <a:prstGeom prst="line">
                <a:avLst/>
              </a:prstGeom>
              <a:ln w="38100" cap="rnd">
                <a:solidFill>
                  <a:schemeClr val="bg1">
                    <a:lumMod val="6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/>
              <p:cNvCxnSpPr/>
              <p:nvPr userDrawn="1"/>
            </p:nvCxnSpPr>
            <p:spPr>
              <a:xfrm>
                <a:off x="2133600" y="3234015"/>
                <a:ext cx="1295400" cy="499785"/>
              </a:xfrm>
              <a:prstGeom prst="line">
                <a:avLst/>
              </a:prstGeom>
              <a:ln w="38100" cap="rnd">
                <a:solidFill>
                  <a:schemeClr val="bg1">
                    <a:lumMod val="6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2989170" y="1547767"/>
              <a:ext cx="2743200" cy="4591337"/>
              <a:chOff x="3096333" y="1547767"/>
              <a:chExt cx="2743200" cy="4591337"/>
            </a:xfrm>
          </p:grpSpPr>
          <p:sp>
            <p:nvSpPr>
              <p:cNvPr id="35" name="Oval 34"/>
              <p:cNvSpPr>
                <a:spLocks/>
              </p:cNvSpPr>
              <p:nvPr userDrawn="1"/>
            </p:nvSpPr>
            <p:spPr>
              <a:xfrm>
                <a:off x="3324933" y="1547767"/>
                <a:ext cx="2286000" cy="1371600"/>
              </a:xfrm>
              <a:prstGeom prst="ellipse">
                <a:avLst/>
              </a:prstGeom>
              <a:solidFill>
                <a:schemeClr val="accent3">
                  <a:lumMod val="50000"/>
                </a:schemeClr>
              </a:solidFill>
              <a:ln w="2857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5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0"/>
                  </a:spcBef>
                  <a:buClr>
                    <a:schemeClr val="accent2"/>
                  </a:buClr>
                  <a:buSzPct val="90000"/>
                </a:pPr>
                <a:r>
                  <a:rPr lang="en-US" sz="2000" b="1" dirty="0">
                    <a:solidFill>
                      <a:schemeClr val="bg1"/>
                    </a:solidFill>
                    <a:latin typeface="+mn-lt"/>
                  </a:rPr>
                  <a:t>Sample 1</a:t>
                </a:r>
              </a:p>
            </p:txBody>
          </p:sp>
          <p:sp>
            <p:nvSpPr>
              <p:cNvPr id="36" name="Oval 35"/>
              <p:cNvSpPr>
                <a:spLocks/>
              </p:cNvSpPr>
              <p:nvPr userDrawn="1"/>
            </p:nvSpPr>
            <p:spPr>
              <a:xfrm>
                <a:off x="3324933" y="4767504"/>
                <a:ext cx="2286000" cy="1371600"/>
              </a:xfrm>
              <a:prstGeom prst="ellipse">
                <a:avLst/>
              </a:prstGeom>
              <a:solidFill>
                <a:schemeClr val="accent3">
                  <a:lumMod val="50000"/>
                </a:schemeClr>
              </a:solidFill>
              <a:ln w="2857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5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lvl="0" algn="ctr">
                  <a:lnSpc>
                    <a:spcPct val="90000"/>
                  </a:lnSpc>
                  <a:spcBef>
                    <a:spcPts val="0"/>
                  </a:spcBef>
                  <a:buClr>
                    <a:srgbClr val="8FC447"/>
                  </a:buClr>
                  <a:buSzPct val="90000"/>
                </a:pPr>
                <a:r>
                  <a:rPr lang="en-US" sz="2000" b="1" dirty="0">
                    <a:solidFill>
                      <a:srgbClr val="FFFFFF"/>
                    </a:solidFill>
                    <a:latin typeface="+mn-lt"/>
                  </a:rPr>
                  <a:t>Sample 4</a:t>
                </a:r>
              </a:p>
            </p:txBody>
          </p:sp>
          <p:sp>
            <p:nvSpPr>
              <p:cNvPr id="40" name="Oval 39"/>
              <p:cNvSpPr/>
              <p:nvPr userDrawn="1"/>
            </p:nvSpPr>
            <p:spPr>
              <a:xfrm>
                <a:off x="3096333" y="3157636"/>
                <a:ext cx="2743200" cy="1371600"/>
              </a:xfrm>
              <a:prstGeom prst="ellipse">
                <a:avLst/>
              </a:prstGeom>
              <a:solidFill>
                <a:schemeClr val="accent3">
                  <a:lumMod val="75000"/>
                </a:schemeClr>
              </a:solidFill>
              <a:ln w="2857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5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0"/>
                  </a:spcBef>
                  <a:buClr>
                    <a:schemeClr val="accent2"/>
                  </a:buClr>
                  <a:buSzPct val="90000"/>
                </a:pPr>
                <a:r>
                  <a:rPr lang="en-US" sz="2800" b="1" dirty="0">
                    <a:solidFill>
                      <a:schemeClr val="bg1"/>
                    </a:solidFill>
                    <a:latin typeface="+mn-lt"/>
                    <a:ea typeface="+mn-ea"/>
                  </a:rPr>
                  <a:t>Highlight</a:t>
                </a:r>
              </a:p>
            </p:txBody>
          </p:sp>
        </p:grpSp>
        <p:grpSp>
          <p:nvGrpSpPr>
            <p:cNvPr id="43" name="Group 42"/>
            <p:cNvGrpSpPr/>
            <p:nvPr userDrawn="1"/>
          </p:nvGrpSpPr>
          <p:grpSpPr>
            <a:xfrm>
              <a:off x="6054538" y="2352701"/>
              <a:ext cx="2286000" cy="2981468"/>
              <a:chOff x="6054538" y="2352701"/>
              <a:chExt cx="2286000" cy="2981468"/>
            </a:xfrm>
          </p:grpSpPr>
          <p:sp>
            <p:nvSpPr>
              <p:cNvPr id="41" name="Oval 40"/>
              <p:cNvSpPr>
                <a:spLocks/>
              </p:cNvSpPr>
              <p:nvPr userDrawn="1"/>
            </p:nvSpPr>
            <p:spPr>
              <a:xfrm>
                <a:off x="6054538" y="3962569"/>
                <a:ext cx="2286000" cy="1371600"/>
              </a:xfrm>
              <a:prstGeom prst="ellipse">
                <a:avLst/>
              </a:prstGeom>
              <a:solidFill>
                <a:schemeClr val="accent3">
                  <a:lumMod val="50000"/>
                </a:schemeClr>
              </a:solidFill>
              <a:ln w="2857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5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lvl="0" algn="ctr">
                  <a:lnSpc>
                    <a:spcPct val="90000"/>
                  </a:lnSpc>
                  <a:spcBef>
                    <a:spcPts val="0"/>
                  </a:spcBef>
                  <a:buClr>
                    <a:srgbClr val="8FC447"/>
                  </a:buClr>
                  <a:buSzPct val="90000"/>
                </a:pPr>
                <a:r>
                  <a:rPr lang="en-US" sz="2000" b="1" dirty="0">
                    <a:solidFill>
                      <a:srgbClr val="FFFFFF"/>
                    </a:solidFill>
                    <a:latin typeface="+mn-lt"/>
                  </a:rPr>
                  <a:t>Sample 3</a:t>
                </a:r>
              </a:p>
            </p:txBody>
          </p:sp>
          <p:sp>
            <p:nvSpPr>
              <p:cNvPr id="38" name="Oval 37"/>
              <p:cNvSpPr>
                <a:spLocks/>
              </p:cNvSpPr>
              <p:nvPr userDrawn="1"/>
            </p:nvSpPr>
            <p:spPr>
              <a:xfrm>
                <a:off x="6054538" y="2352701"/>
                <a:ext cx="2286000" cy="1371600"/>
              </a:xfrm>
              <a:prstGeom prst="ellipse">
                <a:avLst/>
              </a:prstGeom>
              <a:solidFill>
                <a:schemeClr val="accent3">
                  <a:lumMod val="50000"/>
                </a:schemeClr>
              </a:solidFill>
              <a:ln w="2857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5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lvl="0" algn="ctr">
                  <a:lnSpc>
                    <a:spcPct val="90000"/>
                  </a:lnSpc>
                  <a:spcBef>
                    <a:spcPts val="0"/>
                  </a:spcBef>
                  <a:buClr>
                    <a:srgbClr val="8FC447"/>
                  </a:buClr>
                  <a:buSzPct val="90000"/>
                </a:pPr>
                <a:r>
                  <a:rPr lang="en-US" sz="2000" b="1" dirty="0">
                    <a:solidFill>
                      <a:srgbClr val="FFFFFF"/>
                    </a:solidFill>
                    <a:latin typeface="+mn-lt"/>
                  </a:rPr>
                  <a:t>Sample 2</a:t>
                </a:r>
              </a:p>
            </p:txBody>
          </p:sp>
        </p:grpSp>
        <p:grpSp>
          <p:nvGrpSpPr>
            <p:cNvPr id="45" name="Group 44"/>
            <p:cNvGrpSpPr/>
            <p:nvPr userDrawn="1"/>
          </p:nvGrpSpPr>
          <p:grpSpPr>
            <a:xfrm>
              <a:off x="381000" y="2352701"/>
              <a:ext cx="2286000" cy="2981468"/>
              <a:chOff x="381000" y="2352701"/>
              <a:chExt cx="2286000" cy="2981468"/>
            </a:xfrm>
          </p:grpSpPr>
          <p:sp>
            <p:nvSpPr>
              <p:cNvPr id="37" name="Oval 36"/>
              <p:cNvSpPr>
                <a:spLocks/>
              </p:cNvSpPr>
              <p:nvPr userDrawn="1"/>
            </p:nvSpPr>
            <p:spPr>
              <a:xfrm>
                <a:off x="381000" y="3962569"/>
                <a:ext cx="2286000" cy="1371600"/>
              </a:xfrm>
              <a:prstGeom prst="ellipse">
                <a:avLst/>
              </a:prstGeom>
              <a:solidFill>
                <a:schemeClr val="accent3">
                  <a:lumMod val="50000"/>
                </a:schemeClr>
              </a:solidFill>
              <a:ln w="2857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5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lvl="0" algn="ctr">
                  <a:lnSpc>
                    <a:spcPct val="90000"/>
                  </a:lnSpc>
                  <a:spcBef>
                    <a:spcPts val="0"/>
                  </a:spcBef>
                  <a:buClr>
                    <a:srgbClr val="8FC447"/>
                  </a:buClr>
                  <a:buSzPct val="90000"/>
                </a:pPr>
                <a:r>
                  <a:rPr lang="en-US" sz="2000" b="1" dirty="0">
                    <a:solidFill>
                      <a:srgbClr val="FFFFFF"/>
                    </a:solidFill>
                    <a:latin typeface="+mn-lt"/>
                  </a:rPr>
                  <a:t>Sample 5</a:t>
                </a:r>
              </a:p>
            </p:txBody>
          </p:sp>
          <p:sp>
            <p:nvSpPr>
              <p:cNvPr id="42" name="Oval 41"/>
              <p:cNvSpPr>
                <a:spLocks/>
              </p:cNvSpPr>
              <p:nvPr userDrawn="1"/>
            </p:nvSpPr>
            <p:spPr>
              <a:xfrm>
                <a:off x="381000" y="2352701"/>
                <a:ext cx="2286000" cy="1371600"/>
              </a:xfrm>
              <a:prstGeom prst="ellipse">
                <a:avLst/>
              </a:prstGeom>
              <a:solidFill>
                <a:schemeClr val="accent3">
                  <a:lumMod val="50000"/>
                </a:schemeClr>
              </a:solidFill>
              <a:ln w="2857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5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lvl="0" algn="ctr">
                  <a:lnSpc>
                    <a:spcPct val="90000"/>
                  </a:lnSpc>
                  <a:spcBef>
                    <a:spcPts val="0"/>
                  </a:spcBef>
                  <a:buClr>
                    <a:srgbClr val="8FC447"/>
                  </a:buClr>
                  <a:buSzPct val="90000"/>
                </a:pPr>
                <a:r>
                  <a:rPr lang="en-US" sz="2000" b="1" dirty="0">
                    <a:solidFill>
                      <a:srgbClr val="FFFFFF"/>
                    </a:solidFill>
                    <a:latin typeface="+mn-lt"/>
                  </a:rPr>
                  <a:t>Sample 6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602357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" y="274638"/>
            <a:ext cx="8503920" cy="914400"/>
          </a:xfrm>
        </p:spPr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0040" y="6356350"/>
            <a:ext cx="2133600" cy="365125"/>
          </a:xfrm>
        </p:spPr>
        <p:txBody>
          <a:bodyPr/>
          <a:lstStyle/>
          <a:p>
            <a:fld id="{23E123D6-A26F-48C4-B68B-48002B28495B}" type="slidenum">
              <a:rPr lang="en-US" smtClean="0"/>
              <a:pPr/>
              <a:t>‹#›</a:t>
            </a:fld>
            <a:r>
              <a:rPr lang="en-US" dirty="0"/>
              <a:t> </a:t>
            </a:r>
            <a:r>
              <a:rPr lang="en-US" dirty="0">
                <a:sym typeface="Symbol"/>
              </a:rPr>
              <a:t>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81000" y="1189038"/>
            <a:ext cx="8382000" cy="0"/>
          </a:xfrm>
          <a:prstGeom prst="line">
            <a:avLst/>
          </a:prstGeom>
          <a:ln w="47625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28 October 2015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 bwMode="gray">
          <a:xfrm>
            <a:off x="2514600" y="1989446"/>
            <a:ext cx="4114800" cy="2879108"/>
            <a:chOff x="2222500" y="2151063"/>
            <a:chExt cx="4694238" cy="3284537"/>
          </a:xfrm>
        </p:grpSpPr>
        <p:sp>
          <p:nvSpPr>
            <p:cNvPr id="17" name="Freeform 6"/>
            <p:cNvSpPr>
              <a:spLocks noEditPoints="1"/>
            </p:cNvSpPr>
            <p:nvPr/>
          </p:nvSpPr>
          <p:spPr bwMode="gray">
            <a:xfrm>
              <a:off x="2222500" y="2151063"/>
              <a:ext cx="1919288" cy="2486025"/>
            </a:xfrm>
            <a:custGeom>
              <a:avLst/>
              <a:gdLst>
                <a:gd name="T0" fmla="*/ 512 w 512"/>
                <a:gd name="T1" fmla="*/ 271 h 663"/>
                <a:gd name="T2" fmla="*/ 482 w 512"/>
                <a:gd name="T3" fmla="*/ 419 h 663"/>
                <a:gd name="T4" fmla="*/ 399 w 512"/>
                <a:gd name="T5" fmla="*/ 516 h 663"/>
                <a:gd name="T6" fmla="*/ 505 w 512"/>
                <a:gd name="T7" fmla="*/ 610 h 663"/>
                <a:gd name="T8" fmla="*/ 456 w 512"/>
                <a:gd name="T9" fmla="*/ 663 h 663"/>
                <a:gd name="T10" fmla="*/ 312 w 512"/>
                <a:gd name="T11" fmla="*/ 550 h 663"/>
                <a:gd name="T12" fmla="*/ 284 w 512"/>
                <a:gd name="T13" fmla="*/ 555 h 663"/>
                <a:gd name="T14" fmla="*/ 254 w 512"/>
                <a:gd name="T15" fmla="*/ 556 h 663"/>
                <a:gd name="T16" fmla="*/ 149 w 512"/>
                <a:gd name="T17" fmla="*/ 537 h 663"/>
                <a:gd name="T18" fmla="*/ 69 w 512"/>
                <a:gd name="T19" fmla="*/ 482 h 663"/>
                <a:gd name="T20" fmla="*/ 18 w 512"/>
                <a:gd name="T21" fmla="*/ 395 h 663"/>
                <a:gd name="T22" fmla="*/ 0 w 512"/>
                <a:gd name="T23" fmla="*/ 284 h 663"/>
                <a:gd name="T24" fmla="*/ 18 w 512"/>
                <a:gd name="T25" fmla="*/ 167 h 663"/>
                <a:gd name="T26" fmla="*/ 69 w 512"/>
                <a:gd name="T27" fmla="*/ 77 h 663"/>
                <a:gd name="T28" fmla="*/ 152 w 512"/>
                <a:gd name="T29" fmla="*/ 20 h 663"/>
                <a:gd name="T30" fmla="*/ 263 w 512"/>
                <a:gd name="T31" fmla="*/ 0 h 663"/>
                <a:gd name="T32" fmla="*/ 365 w 512"/>
                <a:gd name="T33" fmla="*/ 19 h 663"/>
                <a:gd name="T34" fmla="*/ 444 w 512"/>
                <a:gd name="T35" fmla="*/ 75 h 663"/>
                <a:gd name="T36" fmla="*/ 494 w 512"/>
                <a:gd name="T37" fmla="*/ 160 h 663"/>
                <a:gd name="T38" fmla="*/ 512 w 512"/>
                <a:gd name="T39" fmla="*/ 271 h 663"/>
                <a:gd name="T40" fmla="*/ 427 w 512"/>
                <a:gd name="T41" fmla="*/ 279 h 663"/>
                <a:gd name="T42" fmla="*/ 416 w 512"/>
                <a:gd name="T43" fmla="*/ 191 h 663"/>
                <a:gd name="T44" fmla="*/ 384 w 512"/>
                <a:gd name="T45" fmla="*/ 124 h 663"/>
                <a:gd name="T46" fmla="*/ 331 w 512"/>
                <a:gd name="T47" fmla="*/ 83 h 663"/>
                <a:gd name="T48" fmla="*/ 259 w 512"/>
                <a:gd name="T49" fmla="*/ 68 h 663"/>
                <a:gd name="T50" fmla="*/ 187 w 512"/>
                <a:gd name="T51" fmla="*/ 84 h 663"/>
                <a:gd name="T52" fmla="*/ 133 w 512"/>
                <a:gd name="T53" fmla="*/ 127 h 663"/>
                <a:gd name="T54" fmla="*/ 98 w 512"/>
                <a:gd name="T55" fmla="*/ 193 h 663"/>
                <a:gd name="T56" fmla="*/ 85 w 512"/>
                <a:gd name="T57" fmla="*/ 279 h 663"/>
                <a:gd name="T58" fmla="*/ 97 w 512"/>
                <a:gd name="T59" fmla="*/ 364 h 663"/>
                <a:gd name="T60" fmla="*/ 131 w 512"/>
                <a:gd name="T61" fmla="*/ 430 h 663"/>
                <a:gd name="T62" fmla="*/ 184 w 512"/>
                <a:gd name="T63" fmla="*/ 472 h 663"/>
                <a:gd name="T64" fmla="*/ 254 w 512"/>
                <a:gd name="T65" fmla="*/ 487 h 663"/>
                <a:gd name="T66" fmla="*/ 327 w 512"/>
                <a:gd name="T67" fmla="*/ 473 h 663"/>
                <a:gd name="T68" fmla="*/ 381 w 512"/>
                <a:gd name="T69" fmla="*/ 433 h 663"/>
                <a:gd name="T70" fmla="*/ 415 w 512"/>
                <a:gd name="T71" fmla="*/ 367 h 663"/>
                <a:gd name="T72" fmla="*/ 427 w 512"/>
                <a:gd name="T73" fmla="*/ 279 h 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12" h="663">
                  <a:moveTo>
                    <a:pt x="512" y="271"/>
                  </a:moveTo>
                  <a:cubicBezTo>
                    <a:pt x="512" y="329"/>
                    <a:pt x="502" y="378"/>
                    <a:pt x="482" y="419"/>
                  </a:cubicBezTo>
                  <a:cubicBezTo>
                    <a:pt x="463" y="460"/>
                    <a:pt x="435" y="492"/>
                    <a:pt x="399" y="516"/>
                  </a:cubicBezTo>
                  <a:cubicBezTo>
                    <a:pt x="505" y="610"/>
                    <a:pt x="505" y="610"/>
                    <a:pt x="505" y="610"/>
                  </a:cubicBezTo>
                  <a:cubicBezTo>
                    <a:pt x="456" y="663"/>
                    <a:pt x="456" y="663"/>
                    <a:pt x="456" y="663"/>
                  </a:cubicBezTo>
                  <a:cubicBezTo>
                    <a:pt x="312" y="550"/>
                    <a:pt x="312" y="550"/>
                    <a:pt x="312" y="550"/>
                  </a:cubicBezTo>
                  <a:cubicBezTo>
                    <a:pt x="303" y="552"/>
                    <a:pt x="294" y="553"/>
                    <a:pt x="284" y="555"/>
                  </a:cubicBezTo>
                  <a:cubicBezTo>
                    <a:pt x="274" y="556"/>
                    <a:pt x="264" y="556"/>
                    <a:pt x="254" y="556"/>
                  </a:cubicBezTo>
                  <a:cubicBezTo>
                    <a:pt x="215" y="556"/>
                    <a:pt x="180" y="550"/>
                    <a:pt x="149" y="537"/>
                  </a:cubicBezTo>
                  <a:cubicBezTo>
                    <a:pt x="118" y="524"/>
                    <a:pt x="91" y="505"/>
                    <a:pt x="69" y="482"/>
                  </a:cubicBezTo>
                  <a:cubicBezTo>
                    <a:pt x="47" y="458"/>
                    <a:pt x="30" y="429"/>
                    <a:pt x="18" y="395"/>
                  </a:cubicBezTo>
                  <a:cubicBezTo>
                    <a:pt x="6" y="362"/>
                    <a:pt x="0" y="325"/>
                    <a:pt x="0" y="284"/>
                  </a:cubicBezTo>
                  <a:cubicBezTo>
                    <a:pt x="0" y="241"/>
                    <a:pt x="6" y="202"/>
                    <a:pt x="18" y="167"/>
                  </a:cubicBezTo>
                  <a:cubicBezTo>
                    <a:pt x="29" y="132"/>
                    <a:pt x="47" y="102"/>
                    <a:pt x="69" y="77"/>
                  </a:cubicBezTo>
                  <a:cubicBezTo>
                    <a:pt x="92" y="52"/>
                    <a:pt x="120" y="33"/>
                    <a:pt x="152" y="20"/>
                  </a:cubicBezTo>
                  <a:cubicBezTo>
                    <a:pt x="185" y="6"/>
                    <a:pt x="221" y="0"/>
                    <a:pt x="263" y="0"/>
                  </a:cubicBezTo>
                  <a:cubicBezTo>
                    <a:pt x="301" y="0"/>
                    <a:pt x="335" y="6"/>
                    <a:pt x="365" y="19"/>
                  </a:cubicBezTo>
                  <a:cubicBezTo>
                    <a:pt x="396" y="32"/>
                    <a:pt x="422" y="51"/>
                    <a:pt x="444" y="75"/>
                  </a:cubicBezTo>
                  <a:cubicBezTo>
                    <a:pt x="466" y="99"/>
                    <a:pt x="482" y="127"/>
                    <a:pt x="494" y="160"/>
                  </a:cubicBezTo>
                  <a:cubicBezTo>
                    <a:pt x="506" y="194"/>
                    <a:pt x="512" y="230"/>
                    <a:pt x="512" y="271"/>
                  </a:cubicBezTo>
                  <a:close/>
                  <a:moveTo>
                    <a:pt x="427" y="279"/>
                  </a:moveTo>
                  <a:cubicBezTo>
                    <a:pt x="427" y="246"/>
                    <a:pt x="423" y="217"/>
                    <a:pt x="416" y="191"/>
                  </a:cubicBezTo>
                  <a:cubicBezTo>
                    <a:pt x="409" y="165"/>
                    <a:pt x="398" y="143"/>
                    <a:pt x="384" y="124"/>
                  </a:cubicBezTo>
                  <a:cubicBezTo>
                    <a:pt x="370" y="106"/>
                    <a:pt x="352" y="92"/>
                    <a:pt x="331" y="83"/>
                  </a:cubicBezTo>
                  <a:cubicBezTo>
                    <a:pt x="310" y="73"/>
                    <a:pt x="286" y="68"/>
                    <a:pt x="259" y="68"/>
                  </a:cubicBezTo>
                  <a:cubicBezTo>
                    <a:pt x="232" y="68"/>
                    <a:pt x="209" y="73"/>
                    <a:pt x="187" y="84"/>
                  </a:cubicBezTo>
                  <a:cubicBezTo>
                    <a:pt x="166" y="94"/>
                    <a:pt x="148" y="108"/>
                    <a:pt x="133" y="127"/>
                  </a:cubicBezTo>
                  <a:cubicBezTo>
                    <a:pt x="117" y="145"/>
                    <a:pt x="106" y="167"/>
                    <a:pt x="98" y="193"/>
                  </a:cubicBezTo>
                  <a:cubicBezTo>
                    <a:pt x="89" y="219"/>
                    <a:pt x="85" y="247"/>
                    <a:pt x="85" y="279"/>
                  </a:cubicBezTo>
                  <a:cubicBezTo>
                    <a:pt x="85" y="310"/>
                    <a:pt x="89" y="338"/>
                    <a:pt x="97" y="364"/>
                  </a:cubicBezTo>
                  <a:cubicBezTo>
                    <a:pt x="105" y="390"/>
                    <a:pt x="116" y="412"/>
                    <a:pt x="131" y="430"/>
                  </a:cubicBezTo>
                  <a:cubicBezTo>
                    <a:pt x="145" y="448"/>
                    <a:pt x="163" y="462"/>
                    <a:pt x="184" y="472"/>
                  </a:cubicBezTo>
                  <a:cubicBezTo>
                    <a:pt x="205" y="482"/>
                    <a:pt x="228" y="487"/>
                    <a:pt x="254" y="487"/>
                  </a:cubicBezTo>
                  <a:cubicBezTo>
                    <a:pt x="281" y="487"/>
                    <a:pt x="305" y="483"/>
                    <a:pt x="327" y="473"/>
                  </a:cubicBezTo>
                  <a:cubicBezTo>
                    <a:pt x="348" y="464"/>
                    <a:pt x="367" y="450"/>
                    <a:pt x="381" y="433"/>
                  </a:cubicBezTo>
                  <a:cubicBezTo>
                    <a:pt x="396" y="415"/>
                    <a:pt x="407" y="393"/>
                    <a:pt x="415" y="367"/>
                  </a:cubicBezTo>
                  <a:cubicBezTo>
                    <a:pt x="423" y="341"/>
                    <a:pt x="427" y="312"/>
                    <a:pt x="427" y="279"/>
                  </a:cubicBez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chemeClr val="accent2"/>
                </a:buClr>
                <a:buSzPct val="90000"/>
              </a:pPr>
              <a:endParaRPr lang="en-US" sz="20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8" name="Freeform 7"/>
            <p:cNvSpPr>
              <a:spLocks noEditPoints="1"/>
            </p:cNvSpPr>
            <p:nvPr/>
          </p:nvSpPr>
          <p:spPr bwMode="gray">
            <a:xfrm>
              <a:off x="4310542" y="3298825"/>
              <a:ext cx="858838" cy="938212"/>
            </a:xfrm>
            <a:custGeom>
              <a:avLst/>
              <a:gdLst>
                <a:gd name="T0" fmla="*/ 193 w 229"/>
                <a:gd name="T1" fmla="*/ 151 h 250"/>
                <a:gd name="T2" fmla="*/ 178 w 229"/>
                <a:gd name="T3" fmla="*/ 183 h 250"/>
                <a:gd name="T4" fmla="*/ 186 w 229"/>
                <a:gd name="T5" fmla="*/ 215 h 250"/>
                <a:gd name="T6" fmla="*/ 215 w 229"/>
                <a:gd name="T7" fmla="*/ 220 h 250"/>
                <a:gd name="T8" fmla="*/ 229 w 229"/>
                <a:gd name="T9" fmla="*/ 244 h 250"/>
                <a:gd name="T10" fmla="*/ 199 w 229"/>
                <a:gd name="T11" fmla="*/ 250 h 250"/>
                <a:gd name="T12" fmla="*/ 168 w 229"/>
                <a:gd name="T13" fmla="*/ 242 h 250"/>
                <a:gd name="T14" fmla="*/ 145 w 229"/>
                <a:gd name="T15" fmla="*/ 222 h 250"/>
                <a:gd name="T16" fmla="*/ 114 w 229"/>
                <a:gd name="T17" fmla="*/ 242 h 250"/>
                <a:gd name="T18" fmla="*/ 72 w 229"/>
                <a:gd name="T19" fmla="*/ 250 h 250"/>
                <a:gd name="T20" fmla="*/ 18 w 229"/>
                <a:gd name="T21" fmla="*/ 231 h 250"/>
                <a:gd name="T22" fmla="*/ 0 w 229"/>
                <a:gd name="T23" fmla="*/ 182 h 250"/>
                <a:gd name="T24" fmla="*/ 16 w 229"/>
                <a:gd name="T25" fmla="*/ 135 h 250"/>
                <a:gd name="T26" fmla="*/ 60 w 229"/>
                <a:gd name="T27" fmla="*/ 105 h 250"/>
                <a:gd name="T28" fmla="*/ 46 w 229"/>
                <a:gd name="T29" fmla="*/ 59 h 250"/>
                <a:gd name="T30" fmla="*/ 64 w 229"/>
                <a:gd name="T31" fmla="*/ 16 h 250"/>
                <a:gd name="T32" fmla="*/ 108 w 229"/>
                <a:gd name="T33" fmla="*/ 0 h 250"/>
                <a:gd name="T34" fmla="*/ 157 w 229"/>
                <a:gd name="T35" fmla="*/ 13 h 250"/>
                <a:gd name="T36" fmla="*/ 147 w 229"/>
                <a:gd name="T37" fmla="*/ 38 h 250"/>
                <a:gd name="T38" fmla="*/ 123 w 229"/>
                <a:gd name="T39" fmla="*/ 30 h 250"/>
                <a:gd name="T40" fmla="*/ 96 w 229"/>
                <a:gd name="T41" fmla="*/ 32 h 250"/>
                <a:gd name="T42" fmla="*/ 83 w 229"/>
                <a:gd name="T43" fmla="*/ 50 h 250"/>
                <a:gd name="T44" fmla="*/ 86 w 229"/>
                <a:gd name="T45" fmla="*/ 79 h 250"/>
                <a:gd name="T46" fmla="*/ 109 w 229"/>
                <a:gd name="T47" fmla="*/ 119 h 250"/>
                <a:gd name="T48" fmla="*/ 135 w 229"/>
                <a:gd name="T49" fmla="*/ 155 h 250"/>
                <a:gd name="T50" fmla="*/ 159 w 229"/>
                <a:gd name="T51" fmla="*/ 155 h 250"/>
                <a:gd name="T52" fmla="*/ 142 w 229"/>
                <a:gd name="T53" fmla="*/ 134 h 250"/>
                <a:gd name="T54" fmla="*/ 225 w 229"/>
                <a:gd name="T55" fmla="*/ 106 h 250"/>
                <a:gd name="T56" fmla="*/ 199 w 229"/>
                <a:gd name="T57" fmla="*/ 134 h 250"/>
                <a:gd name="T58" fmla="*/ 103 w 229"/>
                <a:gd name="T59" fmla="*/ 215 h 250"/>
                <a:gd name="T60" fmla="*/ 100 w 229"/>
                <a:gd name="T61" fmla="*/ 163 h 250"/>
                <a:gd name="T62" fmla="*/ 56 w 229"/>
                <a:gd name="T63" fmla="*/ 139 h 250"/>
                <a:gd name="T64" fmla="*/ 39 w 229"/>
                <a:gd name="T65" fmla="*/ 166 h 250"/>
                <a:gd name="T66" fmla="*/ 40 w 229"/>
                <a:gd name="T67" fmla="*/ 198 h 250"/>
                <a:gd name="T68" fmla="*/ 59 w 229"/>
                <a:gd name="T69" fmla="*/ 218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29" h="250">
                  <a:moveTo>
                    <a:pt x="199" y="134"/>
                  </a:moveTo>
                  <a:cubicBezTo>
                    <a:pt x="197" y="139"/>
                    <a:pt x="195" y="145"/>
                    <a:pt x="193" y="151"/>
                  </a:cubicBezTo>
                  <a:cubicBezTo>
                    <a:pt x="191" y="156"/>
                    <a:pt x="189" y="162"/>
                    <a:pt x="186" y="167"/>
                  </a:cubicBezTo>
                  <a:cubicBezTo>
                    <a:pt x="184" y="173"/>
                    <a:pt x="181" y="178"/>
                    <a:pt x="178" y="183"/>
                  </a:cubicBezTo>
                  <a:cubicBezTo>
                    <a:pt x="175" y="189"/>
                    <a:pt x="171" y="193"/>
                    <a:pt x="168" y="198"/>
                  </a:cubicBezTo>
                  <a:cubicBezTo>
                    <a:pt x="174" y="206"/>
                    <a:pt x="180" y="211"/>
                    <a:pt x="186" y="215"/>
                  </a:cubicBezTo>
                  <a:cubicBezTo>
                    <a:pt x="192" y="219"/>
                    <a:pt x="198" y="221"/>
                    <a:pt x="205" y="221"/>
                  </a:cubicBezTo>
                  <a:cubicBezTo>
                    <a:pt x="208" y="221"/>
                    <a:pt x="211" y="221"/>
                    <a:pt x="215" y="220"/>
                  </a:cubicBezTo>
                  <a:cubicBezTo>
                    <a:pt x="219" y="220"/>
                    <a:pt x="223" y="219"/>
                    <a:pt x="229" y="217"/>
                  </a:cubicBezTo>
                  <a:cubicBezTo>
                    <a:pt x="229" y="244"/>
                    <a:pt x="229" y="244"/>
                    <a:pt x="229" y="244"/>
                  </a:cubicBezTo>
                  <a:cubicBezTo>
                    <a:pt x="224" y="246"/>
                    <a:pt x="220" y="247"/>
                    <a:pt x="215" y="248"/>
                  </a:cubicBezTo>
                  <a:cubicBezTo>
                    <a:pt x="210" y="249"/>
                    <a:pt x="205" y="250"/>
                    <a:pt x="199" y="250"/>
                  </a:cubicBezTo>
                  <a:cubicBezTo>
                    <a:pt x="193" y="250"/>
                    <a:pt x="187" y="249"/>
                    <a:pt x="182" y="248"/>
                  </a:cubicBezTo>
                  <a:cubicBezTo>
                    <a:pt x="177" y="246"/>
                    <a:pt x="172" y="245"/>
                    <a:pt x="168" y="242"/>
                  </a:cubicBezTo>
                  <a:cubicBezTo>
                    <a:pt x="164" y="240"/>
                    <a:pt x="159" y="237"/>
                    <a:pt x="156" y="233"/>
                  </a:cubicBezTo>
                  <a:cubicBezTo>
                    <a:pt x="152" y="230"/>
                    <a:pt x="148" y="226"/>
                    <a:pt x="145" y="222"/>
                  </a:cubicBezTo>
                  <a:cubicBezTo>
                    <a:pt x="140" y="226"/>
                    <a:pt x="135" y="230"/>
                    <a:pt x="130" y="233"/>
                  </a:cubicBezTo>
                  <a:cubicBezTo>
                    <a:pt x="125" y="237"/>
                    <a:pt x="120" y="240"/>
                    <a:pt x="114" y="242"/>
                  </a:cubicBezTo>
                  <a:cubicBezTo>
                    <a:pt x="108" y="245"/>
                    <a:pt x="101" y="246"/>
                    <a:pt x="94" y="248"/>
                  </a:cubicBezTo>
                  <a:cubicBezTo>
                    <a:pt x="88" y="249"/>
                    <a:pt x="80" y="250"/>
                    <a:pt x="72" y="250"/>
                  </a:cubicBezTo>
                  <a:cubicBezTo>
                    <a:pt x="60" y="250"/>
                    <a:pt x="50" y="248"/>
                    <a:pt x="41" y="245"/>
                  </a:cubicBezTo>
                  <a:cubicBezTo>
                    <a:pt x="32" y="241"/>
                    <a:pt x="25" y="237"/>
                    <a:pt x="18" y="231"/>
                  </a:cubicBezTo>
                  <a:cubicBezTo>
                    <a:pt x="12" y="225"/>
                    <a:pt x="8" y="217"/>
                    <a:pt x="5" y="209"/>
                  </a:cubicBezTo>
                  <a:cubicBezTo>
                    <a:pt x="1" y="201"/>
                    <a:pt x="0" y="192"/>
                    <a:pt x="0" y="182"/>
                  </a:cubicBezTo>
                  <a:cubicBezTo>
                    <a:pt x="0" y="173"/>
                    <a:pt x="1" y="164"/>
                    <a:pt x="4" y="156"/>
                  </a:cubicBezTo>
                  <a:cubicBezTo>
                    <a:pt x="7" y="148"/>
                    <a:pt x="11" y="141"/>
                    <a:pt x="16" y="135"/>
                  </a:cubicBezTo>
                  <a:cubicBezTo>
                    <a:pt x="22" y="129"/>
                    <a:pt x="28" y="123"/>
                    <a:pt x="35" y="118"/>
                  </a:cubicBezTo>
                  <a:cubicBezTo>
                    <a:pt x="43" y="114"/>
                    <a:pt x="51" y="109"/>
                    <a:pt x="60" y="105"/>
                  </a:cubicBezTo>
                  <a:cubicBezTo>
                    <a:pt x="56" y="98"/>
                    <a:pt x="52" y="91"/>
                    <a:pt x="50" y="83"/>
                  </a:cubicBezTo>
                  <a:cubicBezTo>
                    <a:pt x="47" y="76"/>
                    <a:pt x="46" y="68"/>
                    <a:pt x="46" y="59"/>
                  </a:cubicBezTo>
                  <a:cubicBezTo>
                    <a:pt x="46" y="50"/>
                    <a:pt x="47" y="42"/>
                    <a:pt x="50" y="35"/>
                  </a:cubicBezTo>
                  <a:cubicBezTo>
                    <a:pt x="54" y="27"/>
                    <a:pt x="58" y="21"/>
                    <a:pt x="64" y="16"/>
                  </a:cubicBezTo>
                  <a:cubicBezTo>
                    <a:pt x="69" y="11"/>
                    <a:pt x="76" y="7"/>
                    <a:pt x="83" y="4"/>
                  </a:cubicBezTo>
                  <a:cubicBezTo>
                    <a:pt x="91" y="1"/>
                    <a:pt x="99" y="0"/>
                    <a:pt x="108" y="0"/>
                  </a:cubicBezTo>
                  <a:cubicBezTo>
                    <a:pt x="118" y="0"/>
                    <a:pt x="128" y="1"/>
                    <a:pt x="136" y="4"/>
                  </a:cubicBezTo>
                  <a:cubicBezTo>
                    <a:pt x="144" y="6"/>
                    <a:pt x="151" y="9"/>
                    <a:pt x="157" y="13"/>
                  </a:cubicBezTo>
                  <a:cubicBezTo>
                    <a:pt x="157" y="44"/>
                    <a:pt x="157" y="44"/>
                    <a:pt x="157" y="44"/>
                  </a:cubicBezTo>
                  <a:cubicBezTo>
                    <a:pt x="154" y="42"/>
                    <a:pt x="151" y="40"/>
                    <a:pt x="147" y="38"/>
                  </a:cubicBezTo>
                  <a:cubicBezTo>
                    <a:pt x="143" y="36"/>
                    <a:pt x="139" y="34"/>
                    <a:pt x="135" y="33"/>
                  </a:cubicBezTo>
                  <a:cubicBezTo>
                    <a:pt x="131" y="32"/>
                    <a:pt x="126" y="30"/>
                    <a:pt x="123" y="30"/>
                  </a:cubicBezTo>
                  <a:cubicBezTo>
                    <a:pt x="119" y="29"/>
                    <a:pt x="115" y="28"/>
                    <a:pt x="112" y="28"/>
                  </a:cubicBezTo>
                  <a:cubicBezTo>
                    <a:pt x="105" y="28"/>
                    <a:pt x="100" y="29"/>
                    <a:pt x="96" y="32"/>
                  </a:cubicBezTo>
                  <a:cubicBezTo>
                    <a:pt x="92" y="34"/>
                    <a:pt x="89" y="36"/>
                    <a:pt x="87" y="40"/>
                  </a:cubicBezTo>
                  <a:cubicBezTo>
                    <a:pt x="85" y="43"/>
                    <a:pt x="84" y="46"/>
                    <a:pt x="83" y="50"/>
                  </a:cubicBezTo>
                  <a:cubicBezTo>
                    <a:pt x="83" y="53"/>
                    <a:pt x="82" y="56"/>
                    <a:pt x="82" y="59"/>
                  </a:cubicBezTo>
                  <a:cubicBezTo>
                    <a:pt x="82" y="65"/>
                    <a:pt x="83" y="72"/>
                    <a:pt x="86" y="79"/>
                  </a:cubicBezTo>
                  <a:cubicBezTo>
                    <a:pt x="89" y="86"/>
                    <a:pt x="93" y="94"/>
                    <a:pt x="99" y="104"/>
                  </a:cubicBezTo>
                  <a:cubicBezTo>
                    <a:pt x="102" y="108"/>
                    <a:pt x="105" y="113"/>
                    <a:pt x="109" y="119"/>
                  </a:cubicBezTo>
                  <a:cubicBezTo>
                    <a:pt x="113" y="124"/>
                    <a:pt x="117" y="130"/>
                    <a:pt x="122" y="136"/>
                  </a:cubicBezTo>
                  <a:cubicBezTo>
                    <a:pt x="126" y="142"/>
                    <a:pt x="130" y="149"/>
                    <a:pt x="135" y="155"/>
                  </a:cubicBezTo>
                  <a:cubicBezTo>
                    <a:pt x="140" y="161"/>
                    <a:pt x="145" y="168"/>
                    <a:pt x="150" y="174"/>
                  </a:cubicBezTo>
                  <a:cubicBezTo>
                    <a:pt x="153" y="168"/>
                    <a:pt x="156" y="162"/>
                    <a:pt x="159" y="155"/>
                  </a:cubicBezTo>
                  <a:cubicBezTo>
                    <a:pt x="162" y="149"/>
                    <a:pt x="165" y="142"/>
                    <a:pt x="167" y="134"/>
                  </a:cubicBezTo>
                  <a:cubicBezTo>
                    <a:pt x="142" y="134"/>
                    <a:pt x="142" y="134"/>
                    <a:pt x="142" y="134"/>
                  </a:cubicBezTo>
                  <a:cubicBezTo>
                    <a:pt x="142" y="106"/>
                    <a:pt x="142" y="106"/>
                    <a:pt x="142" y="106"/>
                  </a:cubicBezTo>
                  <a:cubicBezTo>
                    <a:pt x="225" y="106"/>
                    <a:pt x="225" y="106"/>
                    <a:pt x="225" y="106"/>
                  </a:cubicBezTo>
                  <a:cubicBezTo>
                    <a:pt x="225" y="134"/>
                    <a:pt x="225" y="134"/>
                    <a:pt x="225" y="134"/>
                  </a:cubicBezTo>
                  <a:lnTo>
                    <a:pt x="199" y="134"/>
                  </a:lnTo>
                  <a:close/>
                  <a:moveTo>
                    <a:pt x="75" y="221"/>
                  </a:moveTo>
                  <a:cubicBezTo>
                    <a:pt x="84" y="221"/>
                    <a:pt x="94" y="219"/>
                    <a:pt x="103" y="215"/>
                  </a:cubicBezTo>
                  <a:cubicBezTo>
                    <a:pt x="112" y="211"/>
                    <a:pt x="120" y="206"/>
                    <a:pt x="127" y="199"/>
                  </a:cubicBezTo>
                  <a:cubicBezTo>
                    <a:pt x="118" y="187"/>
                    <a:pt x="109" y="175"/>
                    <a:pt x="100" y="163"/>
                  </a:cubicBezTo>
                  <a:cubicBezTo>
                    <a:pt x="91" y="151"/>
                    <a:pt x="82" y="139"/>
                    <a:pt x="74" y="127"/>
                  </a:cubicBezTo>
                  <a:cubicBezTo>
                    <a:pt x="67" y="130"/>
                    <a:pt x="61" y="134"/>
                    <a:pt x="56" y="139"/>
                  </a:cubicBezTo>
                  <a:cubicBezTo>
                    <a:pt x="51" y="143"/>
                    <a:pt x="48" y="147"/>
                    <a:pt x="45" y="152"/>
                  </a:cubicBezTo>
                  <a:cubicBezTo>
                    <a:pt x="42" y="156"/>
                    <a:pt x="40" y="161"/>
                    <a:pt x="39" y="166"/>
                  </a:cubicBezTo>
                  <a:cubicBezTo>
                    <a:pt x="38" y="171"/>
                    <a:pt x="37" y="176"/>
                    <a:pt x="37" y="181"/>
                  </a:cubicBezTo>
                  <a:cubicBezTo>
                    <a:pt x="37" y="187"/>
                    <a:pt x="38" y="193"/>
                    <a:pt x="40" y="198"/>
                  </a:cubicBezTo>
                  <a:cubicBezTo>
                    <a:pt x="42" y="202"/>
                    <a:pt x="44" y="207"/>
                    <a:pt x="47" y="210"/>
                  </a:cubicBezTo>
                  <a:cubicBezTo>
                    <a:pt x="51" y="213"/>
                    <a:pt x="54" y="216"/>
                    <a:pt x="59" y="218"/>
                  </a:cubicBezTo>
                  <a:cubicBezTo>
                    <a:pt x="64" y="220"/>
                    <a:pt x="69" y="221"/>
                    <a:pt x="75" y="221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0"/>
                </a:spcBef>
                <a:buClr>
                  <a:schemeClr val="accent2"/>
                </a:buClr>
                <a:buSzPct val="90000"/>
              </a:pPr>
              <a:endParaRPr lang="en-US" sz="2000" b="1" dirty="0">
                <a:solidFill>
                  <a:schemeClr val="bg1"/>
                </a:solidFill>
                <a:latin typeface="+mj-lt"/>
                <a:ea typeface="+mn-ea"/>
              </a:endParaRPr>
            </a:p>
          </p:txBody>
        </p:sp>
        <p:sp>
          <p:nvSpPr>
            <p:cNvPr id="19" name="Freeform 8"/>
            <p:cNvSpPr>
              <a:spLocks noEditPoints="1"/>
            </p:cNvSpPr>
            <p:nvPr/>
          </p:nvSpPr>
          <p:spPr bwMode="gray">
            <a:xfrm>
              <a:off x="5033963" y="3403600"/>
              <a:ext cx="1882775" cy="2032000"/>
            </a:xfrm>
            <a:custGeom>
              <a:avLst/>
              <a:gdLst>
                <a:gd name="T0" fmla="*/ 502 w 502"/>
                <a:gd name="T1" fmla="*/ 542 h 542"/>
                <a:gd name="T2" fmla="*/ 414 w 502"/>
                <a:gd name="T3" fmla="*/ 542 h 542"/>
                <a:gd name="T4" fmla="*/ 353 w 502"/>
                <a:gd name="T5" fmla="*/ 387 h 542"/>
                <a:gd name="T6" fmla="*/ 145 w 502"/>
                <a:gd name="T7" fmla="*/ 387 h 542"/>
                <a:gd name="T8" fmla="*/ 88 w 502"/>
                <a:gd name="T9" fmla="*/ 542 h 542"/>
                <a:gd name="T10" fmla="*/ 0 w 502"/>
                <a:gd name="T11" fmla="*/ 542 h 542"/>
                <a:gd name="T12" fmla="*/ 210 w 502"/>
                <a:gd name="T13" fmla="*/ 0 h 542"/>
                <a:gd name="T14" fmla="*/ 290 w 502"/>
                <a:gd name="T15" fmla="*/ 0 h 542"/>
                <a:gd name="T16" fmla="*/ 502 w 502"/>
                <a:gd name="T17" fmla="*/ 542 h 542"/>
                <a:gd name="T18" fmla="*/ 260 w 502"/>
                <a:gd name="T19" fmla="*/ 131 h 542"/>
                <a:gd name="T20" fmla="*/ 255 w 502"/>
                <a:gd name="T21" fmla="*/ 114 h 542"/>
                <a:gd name="T22" fmla="*/ 249 w 502"/>
                <a:gd name="T23" fmla="*/ 90 h 542"/>
                <a:gd name="T24" fmla="*/ 248 w 502"/>
                <a:gd name="T25" fmla="*/ 90 h 542"/>
                <a:gd name="T26" fmla="*/ 242 w 502"/>
                <a:gd name="T27" fmla="*/ 115 h 542"/>
                <a:gd name="T28" fmla="*/ 236 w 502"/>
                <a:gd name="T29" fmla="*/ 133 h 542"/>
                <a:gd name="T30" fmla="*/ 171 w 502"/>
                <a:gd name="T31" fmla="*/ 315 h 542"/>
                <a:gd name="T32" fmla="*/ 329 w 502"/>
                <a:gd name="T33" fmla="*/ 315 h 542"/>
                <a:gd name="T34" fmla="*/ 260 w 502"/>
                <a:gd name="T35" fmla="*/ 131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2" h="542">
                  <a:moveTo>
                    <a:pt x="502" y="542"/>
                  </a:moveTo>
                  <a:cubicBezTo>
                    <a:pt x="414" y="542"/>
                    <a:pt x="414" y="542"/>
                    <a:pt x="414" y="542"/>
                  </a:cubicBezTo>
                  <a:cubicBezTo>
                    <a:pt x="353" y="387"/>
                    <a:pt x="353" y="387"/>
                    <a:pt x="353" y="387"/>
                  </a:cubicBezTo>
                  <a:cubicBezTo>
                    <a:pt x="145" y="387"/>
                    <a:pt x="145" y="387"/>
                    <a:pt x="145" y="387"/>
                  </a:cubicBezTo>
                  <a:cubicBezTo>
                    <a:pt x="88" y="542"/>
                    <a:pt x="88" y="542"/>
                    <a:pt x="88" y="542"/>
                  </a:cubicBezTo>
                  <a:cubicBezTo>
                    <a:pt x="0" y="542"/>
                    <a:pt x="0" y="542"/>
                    <a:pt x="0" y="542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90" y="0"/>
                    <a:pt x="290" y="0"/>
                    <a:pt x="290" y="0"/>
                  </a:cubicBezTo>
                  <a:lnTo>
                    <a:pt x="502" y="542"/>
                  </a:lnTo>
                  <a:close/>
                  <a:moveTo>
                    <a:pt x="260" y="131"/>
                  </a:moveTo>
                  <a:cubicBezTo>
                    <a:pt x="258" y="127"/>
                    <a:pt x="257" y="121"/>
                    <a:pt x="255" y="114"/>
                  </a:cubicBezTo>
                  <a:cubicBezTo>
                    <a:pt x="252" y="106"/>
                    <a:pt x="251" y="99"/>
                    <a:pt x="249" y="90"/>
                  </a:cubicBezTo>
                  <a:cubicBezTo>
                    <a:pt x="248" y="90"/>
                    <a:pt x="248" y="90"/>
                    <a:pt x="248" y="90"/>
                  </a:cubicBezTo>
                  <a:cubicBezTo>
                    <a:pt x="246" y="99"/>
                    <a:pt x="245" y="107"/>
                    <a:pt x="242" y="115"/>
                  </a:cubicBezTo>
                  <a:cubicBezTo>
                    <a:pt x="240" y="122"/>
                    <a:pt x="238" y="128"/>
                    <a:pt x="236" y="133"/>
                  </a:cubicBezTo>
                  <a:cubicBezTo>
                    <a:pt x="171" y="315"/>
                    <a:pt x="171" y="315"/>
                    <a:pt x="171" y="315"/>
                  </a:cubicBezTo>
                  <a:cubicBezTo>
                    <a:pt x="329" y="315"/>
                    <a:pt x="329" y="315"/>
                    <a:pt x="329" y="315"/>
                  </a:cubicBezTo>
                  <a:lnTo>
                    <a:pt x="260" y="131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chemeClr val="accent2"/>
                </a:buClr>
                <a:buSzPct val="90000"/>
              </a:pPr>
              <a:endParaRPr lang="en-US" sz="2000" b="1" dirty="0">
                <a:solidFill>
                  <a:schemeClr val="bg1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68547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0040" y="274638"/>
            <a:ext cx="8503920" cy="9144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0040" y="1645920"/>
            <a:ext cx="8503920" cy="42976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2004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23E123D6-A26F-48C4-B68B-48002B28495B}" type="slidenum">
              <a:rPr lang="en-US" smtClean="0"/>
              <a:pPr/>
              <a:t>‹#›</a:t>
            </a:fld>
            <a:r>
              <a:rPr lang="en-US" dirty="0"/>
              <a:t> </a:t>
            </a:r>
            <a:r>
              <a:rPr lang="en-US" dirty="0">
                <a:sym typeface="Symbol"/>
              </a:rPr>
              <a:t>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28 October 2015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81000" y="1189038"/>
            <a:ext cx="8382000" cy="0"/>
          </a:xfrm>
          <a:prstGeom prst="line">
            <a:avLst/>
          </a:prstGeom>
          <a:ln w="47625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202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50" r:id="rId3"/>
    <p:sldLayoutId id="2147483652" r:id="rId4"/>
    <p:sldLayoutId id="2147483663" r:id="rId5"/>
    <p:sldLayoutId id="2147483664" r:id="rId6"/>
    <p:sldLayoutId id="2147483665" r:id="rId7"/>
    <p:sldLayoutId id="2147483662" r:id="rId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chemeClr val="accent3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itchFamily="34" charset="0"/>
        <a:buChar char="•"/>
        <a:defRPr sz="2400" b="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bg1">
            <a:lumMod val="65000"/>
          </a:schemeClr>
        </a:buClr>
        <a:buFont typeface="Arial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bg1">
            <a:lumMod val="65000"/>
          </a:schemeClr>
        </a:buClr>
        <a:buFont typeface="Arial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bg1">
            <a:lumMod val="65000"/>
          </a:schemeClr>
        </a:buClr>
        <a:buFont typeface="Arial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bg1">
            <a:lumMod val="65000"/>
          </a:schemeClr>
        </a:buClr>
        <a:buFont typeface="Arial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3.png"/><Relationship Id="rId5" Type="http://schemas.openxmlformats.org/officeDocument/2006/relationships/oleObject" Target="../embeddings/oleObject5.bin"/><Relationship Id="rId4" Type="http://schemas.openxmlformats.org/officeDocument/2006/relationships/image" Target="../media/image12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15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oleObject" Target="../embeddings/oleObject7.bin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9.png"/><Relationship Id="rId5" Type="http://schemas.openxmlformats.org/officeDocument/2006/relationships/oleObject" Target="../embeddings/oleObject8.bin"/><Relationship Id="rId4" Type="http://schemas.openxmlformats.org/officeDocument/2006/relationships/image" Target="../media/image1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6.emf"/><Relationship Id="rId4" Type="http://schemas.openxmlformats.org/officeDocument/2006/relationships/image" Target="../media/image25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0.emf"/><Relationship Id="rId4" Type="http://schemas.openxmlformats.org/officeDocument/2006/relationships/image" Target="../media/image29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31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32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tif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9725" y="1474788"/>
            <a:ext cx="5527675" cy="2286000"/>
          </a:xfrm>
        </p:spPr>
        <p:txBody>
          <a:bodyPr>
            <a:normAutofit/>
          </a:bodyPr>
          <a:lstStyle/>
          <a:p>
            <a:r>
              <a:rPr lang="en-US" sz="4000" dirty="0"/>
              <a:t>Laboratory Diagnosis of Hemoglobin Disorder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9725" y="3889575"/>
            <a:ext cx="5943600" cy="1063426"/>
          </a:xfrm>
        </p:spPr>
        <p:txBody>
          <a:bodyPr>
            <a:normAutofit/>
          </a:bodyPr>
          <a:lstStyle/>
          <a:p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ndrew N Young MD PhD</a:t>
            </a:r>
          </a:p>
          <a:p>
            <a:r>
              <a:rPr lang="en-US" sz="20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outheast Region Medical Director</a:t>
            </a:r>
          </a:p>
          <a:p>
            <a:r>
              <a:rPr lang="en-US" sz="20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Quest Diagnostic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39725" y="5257800"/>
            <a:ext cx="3927475" cy="1219200"/>
          </a:xfrm>
        </p:spPr>
        <p:txBody>
          <a:bodyPr>
            <a:noAutofit/>
          </a:bodyPr>
          <a:lstStyle/>
          <a:p>
            <a:r>
              <a:rPr lang="en-US" dirty="0"/>
              <a:t>CLS Symposium</a:t>
            </a:r>
          </a:p>
          <a:p>
            <a:r>
              <a:rPr lang="en-US" dirty="0"/>
              <a:t>Auburn University at Montgomery</a:t>
            </a:r>
          </a:p>
          <a:p>
            <a:r>
              <a:rPr lang="en-US" dirty="0"/>
              <a:t>29 MAR 2019</a:t>
            </a:r>
          </a:p>
        </p:txBody>
      </p:sp>
    </p:spTree>
    <p:extLst>
      <p:ext uri="{BB962C8B-B14F-4D97-AF65-F5344CB8AC3E}">
        <p14:creationId xmlns:p14="http://schemas.microsoft.com/office/powerpoint/2010/main" val="19327389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040" y="274638"/>
            <a:ext cx="8503920" cy="914400"/>
          </a:xfrm>
        </p:spPr>
        <p:txBody>
          <a:bodyPr/>
          <a:lstStyle/>
          <a:p>
            <a:r>
              <a:rPr lang="en-US" dirty="0"/>
              <a:t>Thalassemias: red blood cell morpholog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0040" y="1447800"/>
            <a:ext cx="4404360" cy="4572000"/>
          </a:xfrm>
        </p:spPr>
        <p:txBody>
          <a:bodyPr>
            <a:normAutofit fontScale="92500"/>
          </a:bodyPr>
          <a:lstStyle/>
          <a:p>
            <a:r>
              <a:rPr lang="en-US" dirty="0"/>
              <a:t>Similar in </a:t>
            </a:r>
            <a:r>
              <a:rPr lang="el-GR" dirty="0">
                <a:latin typeface="Calibri"/>
              </a:rPr>
              <a:t>α</a:t>
            </a:r>
            <a:r>
              <a:rPr lang="en-US" dirty="0">
                <a:latin typeface="Calibri"/>
              </a:rPr>
              <a:t> and </a:t>
            </a:r>
            <a:r>
              <a:rPr lang="el-GR" dirty="0">
                <a:latin typeface="Calibri"/>
              </a:rPr>
              <a:t>β</a:t>
            </a:r>
            <a:r>
              <a:rPr lang="en-US" dirty="0">
                <a:latin typeface="Calibri"/>
              </a:rPr>
              <a:t> thalassemia</a:t>
            </a:r>
          </a:p>
          <a:p>
            <a:r>
              <a:rPr lang="en-US" dirty="0"/>
              <a:t>Thalassemia minor</a:t>
            </a:r>
          </a:p>
          <a:p>
            <a:pPr lvl="1"/>
            <a:r>
              <a:rPr lang="en-US" dirty="0"/>
              <a:t>Microcytosis (</a:t>
            </a:r>
            <a:r>
              <a:rPr lang="en-US" dirty="0" err="1"/>
              <a:t>ddx</a:t>
            </a:r>
            <a:r>
              <a:rPr lang="en-US" dirty="0"/>
              <a:t>: iron deficiency)</a:t>
            </a:r>
          </a:p>
          <a:p>
            <a:pPr lvl="1"/>
            <a:r>
              <a:rPr lang="en-US" dirty="0"/>
              <a:t>Target cells</a:t>
            </a:r>
          </a:p>
          <a:p>
            <a:pPr lvl="1"/>
            <a:r>
              <a:rPr lang="en-US" dirty="0"/>
              <a:t>Normal or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sym typeface="Symbol" pitchFamily="18" charset="2"/>
              </a:rPr>
              <a:t></a:t>
            </a:r>
            <a:r>
              <a:rPr lang="en-US" dirty="0"/>
              <a:t> RBC</a:t>
            </a:r>
          </a:p>
          <a:p>
            <a:pPr lvl="1"/>
            <a:r>
              <a:rPr lang="en-US" dirty="0"/>
              <a:t>RDW not markedly increased</a:t>
            </a:r>
          </a:p>
          <a:p>
            <a:pPr lvl="1"/>
            <a:r>
              <a:rPr lang="en-US" dirty="0"/>
              <a:t>Basophilic stippling</a:t>
            </a:r>
          </a:p>
          <a:p>
            <a:r>
              <a:rPr lang="en-US" dirty="0"/>
              <a:t>Thalassemia major</a:t>
            </a:r>
          </a:p>
          <a:p>
            <a:pPr lvl="1"/>
            <a:r>
              <a:rPr lang="en-US" dirty="0"/>
              <a:t>Microcytic anemia</a:t>
            </a:r>
          </a:p>
          <a:p>
            <a:pPr lvl="1"/>
            <a:r>
              <a:rPr lang="en-US" dirty="0" err="1"/>
              <a:t>Reticulocytosis</a:t>
            </a:r>
            <a:endParaRPr lang="en-US" dirty="0"/>
          </a:p>
          <a:p>
            <a:pPr lvl="1"/>
            <a:r>
              <a:rPr lang="en-US" dirty="0"/>
              <a:t>Teardrop cells</a:t>
            </a:r>
          </a:p>
          <a:p>
            <a:pPr lvl="1"/>
            <a:r>
              <a:rPr lang="en-US" dirty="0"/>
              <a:t>Nucleated RBC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123D6-A26F-48C4-B68B-48002B28495B}" type="slidenum">
              <a:rPr lang="en-US" smtClean="0"/>
              <a:pPr/>
              <a:t>10</a:t>
            </a:fld>
            <a:r>
              <a:rPr lang="en-US"/>
              <a:t> </a:t>
            </a:r>
            <a:r>
              <a:rPr lang="en-US">
                <a:sym typeface="Symbol"/>
              </a:rPr>
              <a:t>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60" t="-1" r="12970" b="42786"/>
          <a:stretch/>
        </p:blipFill>
        <p:spPr bwMode="auto">
          <a:xfrm rot="5400000">
            <a:off x="4389120" y="2484120"/>
            <a:ext cx="4480560" cy="2590800"/>
          </a:xfrm>
          <a:prstGeom prst="rect">
            <a:avLst/>
          </a:prstGeom>
          <a:noFill/>
          <a:ln w="3175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Line 117"/>
          <p:cNvSpPr>
            <a:spLocks noChangeShapeType="1"/>
          </p:cNvSpPr>
          <p:nvPr/>
        </p:nvSpPr>
        <p:spPr bwMode="auto">
          <a:xfrm>
            <a:off x="2362200" y="2895600"/>
            <a:ext cx="4480560" cy="0"/>
          </a:xfrm>
          <a:prstGeom prst="line">
            <a:avLst/>
          </a:prstGeom>
          <a:noFill/>
          <a:ln w="63500">
            <a:solidFill>
              <a:schemeClr val="tx1">
                <a:lumMod val="85000"/>
                <a:lumOff val="15000"/>
              </a:schemeClr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4588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halassemias</a:t>
            </a:r>
            <a:r>
              <a:rPr lang="en-US" dirty="0"/>
              <a:t>: hemoglobin analysi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123D6-A26F-48C4-B68B-48002B28495B}" type="slidenum">
              <a:rPr lang="en-US" smtClean="0"/>
              <a:pPr/>
              <a:t>11</a:t>
            </a:fld>
            <a:r>
              <a:rPr lang="en-US"/>
              <a:t> </a:t>
            </a:r>
            <a:r>
              <a:rPr lang="en-US">
                <a:sym typeface="Symbol"/>
              </a:rPr>
              <a:t></a:t>
            </a:r>
            <a:endParaRPr lang="en-US" dirty="0"/>
          </a:p>
        </p:txBody>
      </p:sp>
      <p:graphicFrame>
        <p:nvGraphicFramePr>
          <p:cNvPr id="5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77811559"/>
              </p:ext>
            </p:extLst>
          </p:nvPr>
        </p:nvGraphicFramePr>
        <p:xfrm>
          <a:off x="457200" y="1649412"/>
          <a:ext cx="8229600" cy="254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Image" r:id="rId3" imgW="8228920" imgH="2541392" progId="Photoshop.Image.7">
                  <p:embed/>
                </p:oleObj>
              </mc:Choice>
              <mc:Fallback>
                <p:oleObj name="Image" r:id="rId3" imgW="8228920" imgH="2541392" progId="Photoshop.Image.7">
                  <p:embed/>
                  <p:pic>
                    <p:nvPicPr>
                      <p:cNvPr id="5" name="Object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7200" y="1649412"/>
                        <a:ext cx="8229600" cy="2541588"/>
                      </a:xfrm>
                      <a:prstGeom prst="rect">
                        <a:avLst/>
                      </a:prstGeom>
                      <a:noFill/>
                      <a:ln w="25400">
                        <a:solidFill>
                          <a:schemeClr val="bg1">
                            <a:lumMod val="65000"/>
                          </a:schemeClr>
                        </a:solidFill>
                        <a:miter lim="800000"/>
                        <a:headEnd/>
                        <a:tailEnd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Box 8"/>
          <p:cNvSpPr txBox="1">
            <a:spLocks noChangeArrowheads="1"/>
          </p:cNvSpPr>
          <p:nvPr/>
        </p:nvSpPr>
        <p:spPr bwMode="auto">
          <a:xfrm>
            <a:off x="1108075" y="4354513"/>
            <a:ext cx="26289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l-GR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sym typeface="Symbol" pitchFamily="18" charset="2"/>
              </a:rPr>
              <a:t>β</a:t>
            </a: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sym typeface="Symbol" pitchFamily="18" charset="2"/>
              </a:rPr>
              <a:t> thalassemia minor</a:t>
            </a:r>
            <a:endParaRPr lang="en-US" sz="2400" b="1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</p:txBody>
      </p:sp>
      <p:sp>
        <p:nvSpPr>
          <p:cNvPr id="7" name="Text Box 9"/>
          <p:cNvSpPr txBox="1">
            <a:spLocks noChangeArrowheads="1"/>
          </p:cNvSpPr>
          <p:nvPr/>
        </p:nvSpPr>
        <p:spPr bwMode="auto">
          <a:xfrm>
            <a:off x="5572125" y="4354513"/>
            <a:ext cx="265457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l-GR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sym typeface="Symbol" pitchFamily="18" charset="2"/>
              </a:rPr>
              <a:t>α</a:t>
            </a: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sym typeface="Symbol" pitchFamily="18" charset="2"/>
              </a:rPr>
              <a:t> thalassemia minor</a:t>
            </a:r>
            <a:endParaRPr lang="en-US" sz="2400" b="1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</p:txBody>
      </p:sp>
      <p:grpSp>
        <p:nvGrpSpPr>
          <p:cNvPr id="8" name="Group 9"/>
          <p:cNvGrpSpPr>
            <a:grpSpLocks/>
          </p:cNvGrpSpPr>
          <p:nvPr/>
        </p:nvGrpSpPr>
        <p:grpSpPr bwMode="auto">
          <a:xfrm>
            <a:off x="1287463" y="4968882"/>
            <a:ext cx="6602412" cy="369888"/>
            <a:chOff x="811" y="3158"/>
            <a:chExt cx="4159" cy="233"/>
          </a:xfrm>
        </p:grpSpPr>
        <p:sp>
          <p:nvSpPr>
            <p:cNvPr id="9" name="Text Box 7"/>
            <p:cNvSpPr txBox="1">
              <a:spLocks noChangeArrowheads="1"/>
            </p:cNvSpPr>
            <p:nvPr/>
          </p:nvSpPr>
          <p:spPr bwMode="auto">
            <a:xfrm>
              <a:off x="811" y="3158"/>
              <a:ext cx="1426" cy="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US" sz="2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</a:rPr>
                <a:t>(Increased Hb A2)</a:t>
              </a:r>
            </a:p>
          </p:txBody>
        </p:sp>
        <p:sp>
          <p:nvSpPr>
            <p:cNvPr id="10" name="Text Box 8"/>
            <p:cNvSpPr txBox="1">
              <a:spLocks noChangeArrowheads="1"/>
            </p:cNvSpPr>
            <p:nvPr/>
          </p:nvSpPr>
          <p:spPr bwMode="auto">
            <a:xfrm>
              <a:off x="3720" y="3158"/>
              <a:ext cx="1250" cy="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US" sz="240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</a:rPr>
                <a:t>(Normal Hb A2)</a:t>
              </a:r>
            </a:p>
          </p:txBody>
        </p:sp>
      </p:grpSp>
      <p:sp>
        <p:nvSpPr>
          <p:cNvPr id="11" name="Text Box 5"/>
          <p:cNvSpPr txBox="1">
            <a:spLocks noChangeArrowheads="1"/>
          </p:cNvSpPr>
          <p:nvPr/>
        </p:nvSpPr>
        <p:spPr bwMode="auto">
          <a:xfrm>
            <a:off x="1066800" y="1844020"/>
            <a:ext cx="6096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HPLC</a:t>
            </a:r>
          </a:p>
        </p:txBody>
      </p:sp>
      <p:sp>
        <p:nvSpPr>
          <p:cNvPr id="12" name="Text Box 5"/>
          <p:cNvSpPr txBox="1">
            <a:spLocks noChangeArrowheads="1"/>
          </p:cNvSpPr>
          <p:nvPr/>
        </p:nvSpPr>
        <p:spPr bwMode="auto">
          <a:xfrm>
            <a:off x="5343099" y="1844020"/>
            <a:ext cx="6096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HPLC</a:t>
            </a:r>
          </a:p>
        </p:txBody>
      </p:sp>
    </p:spTree>
    <p:extLst>
      <p:ext uri="{BB962C8B-B14F-4D97-AF65-F5344CB8AC3E}">
        <p14:creationId xmlns:p14="http://schemas.microsoft.com/office/powerpoint/2010/main" val="2466283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utoUpdateAnimBg="0"/>
      <p:bldP spid="7" grpId="0" autoUpdateAnimBg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Hemoglobin variant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3187722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ification of hemoglobinopathi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veral hundred mutations have been described</a:t>
            </a:r>
          </a:p>
          <a:p>
            <a:pPr lvl="1"/>
            <a:r>
              <a:rPr lang="en-US" dirty="0"/>
              <a:t>Many are clinically silent</a:t>
            </a:r>
          </a:p>
          <a:p>
            <a:pPr lvl="1"/>
            <a:r>
              <a:rPr lang="en-US" dirty="0"/>
              <a:t>Variants are catalogued in the </a:t>
            </a:r>
            <a:r>
              <a:rPr lang="en-US" dirty="0" err="1"/>
              <a:t>HbVar</a:t>
            </a:r>
            <a:r>
              <a:rPr lang="en-US" dirty="0"/>
              <a:t> relational database</a:t>
            </a:r>
          </a:p>
          <a:p>
            <a:pPr lvl="2"/>
            <a:r>
              <a:rPr lang="en-US" b="1" i="1" dirty="0">
                <a:solidFill>
                  <a:schemeClr val="accent3">
                    <a:lumMod val="75000"/>
                  </a:schemeClr>
                </a:solidFill>
              </a:rPr>
              <a:t>http://globin.cse.psu.edu/hbvar/menu.html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123D6-A26F-48C4-B68B-48002B28495B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13</a:t>
            </a:fld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  <a:sym typeface="Symbol"/>
              </a:rPr>
              <a:t>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7403714"/>
              </p:ext>
            </p:extLst>
          </p:nvPr>
        </p:nvGraphicFramePr>
        <p:xfrm>
          <a:off x="685800" y="3124200"/>
          <a:ext cx="7772400" cy="3200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74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175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774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Abnormality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Functional Effect</a:t>
                      </a:r>
                    </a:p>
                  </a:txBody>
                  <a:tcPr marL="45720" marR="45720" marT="0" marB="0" anchor="ctr" anchorCtr="1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Clinical Disorder</a:t>
                      </a:r>
                    </a:p>
                  </a:txBody>
                  <a:tcPr marL="45720" marR="45720" marT="0" marB="0" anchor="ctr" anchorCtr="1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 </a:t>
                      </a:r>
                      <a:r>
                        <a:rPr kumimoji="0" lang="el-GR" sz="18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Δ</a:t>
                      </a:r>
                      <a:r>
                        <a:rPr kumimoji="0" lang="en-US" sz="18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 protein solubility</a:t>
                      </a:r>
                    </a:p>
                  </a:txBody>
                  <a:tcPr marL="45720" marR="45720" marT="0" marB="0" anchor="ctr" anchorCtr="1" horzOverflow="overflow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Polymerization; crystallization</a:t>
                      </a:r>
                    </a:p>
                  </a:txBody>
                  <a:tcPr marL="45720" marR="45720" marT="0" marB="0" anchor="ctr" anchorCtr="1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Hemolytic anemia</a:t>
                      </a:r>
                    </a:p>
                  </a:txBody>
                  <a:tcPr marL="45720" marR="45720" marT="0" marB="0" anchor="ctr" anchorCtr="1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 </a:t>
                      </a:r>
                      <a:r>
                        <a:rPr kumimoji="0" lang="el-GR" sz="18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Δ</a:t>
                      </a:r>
                      <a:r>
                        <a:rPr kumimoji="0" lang="en-US" sz="18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 mRNA processing</a:t>
                      </a:r>
                    </a:p>
                  </a:txBody>
                  <a:tcPr marL="45720" marR="45720" marT="0" marB="0" anchor="ctr" anchorCtr="1" horzOverflow="overflow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</a:t>
                      </a: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 expression</a:t>
                      </a:r>
                    </a:p>
                  </a:txBody>
                  <a:tcPr marL="45720" marR="45720" marT="0" marB="0" anchor="ctr" anchorCtr="1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Thalassemia syndrome</a:t>
                      </a:r>
                    </a:p>
                  </a:txBody>
                  <a:tcPr marL="45720" marR="45720" marT="0" marB="0" anchor="ctr" anchorCtr="1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</a:t>
                      </a: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 Protein stability</a:t>
                      </a:r>
                    </a:p>
                  </a:txBody>
                  <a:tcPr marL="0" marR="0" marT="0" marB="0" anchor="ctr" horzOverflow="overflow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Denaturation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Hemolytic anemia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</a:t>
                      </a: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 O</a:t>
                      </a:r>
                      <a:r>
                        <a:rPr kumimoji="0" lang="en-US" sz="1800" b="0" i="0" u="none" strike="noStrike" cap="none" normalizeH="0" baseline="-2500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 affinity</a:t>
                      </a:r>
                    </a:p>
                  </a:txBody>
                  <a:tcPr marL="0" marR="0" marT="0" marB="0" anchor="ctr" horzOverflow="overflow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</a:t>
                      </a: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 O</a:t>
                      </a:r>
                      <a:r>
                        <a:rPr kumimoji="0" lang="en-US" sz="1800" b="0" i="0" u="none" strike="noStrike" cap="none" normalizeH="0" baseline="-2500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 release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Polycythemia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</a:t>
                      </a: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 O</a:t>
                      </a:r>
                      <a:r>
                        <a:rPr kumimoji="0" lang="en-US" sz="1800" b="0" i="0" u="none" strike="noStrike" cap="none" normalizeH="0" baseline="-2500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 affinity</a:t>
                      </a:r>
                    </a:p>
                  </a:txBody>
                  <a:tcPr marL="0" marR="0" marT="0" marB="0" anchor="ctr" horzOverflow="overflow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</a:t>
                      </a: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 O</a:t>
                      </a:r>
                      <a:r>
                        <a:rPr kumimoji="0" lang="en-US" sz="1800" b="0" i="0" u="none" strike="noStrike" cap="none" normalizeH="0" baseline="-2500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 </a:t>
                      </a: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binding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Cyanosis or anemia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</a:t>
                      </a: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 Heme reduction</a:t>
                      </a:r>
                    </a:p>
                  </a:txBody>
                  <a:tcPr marL="0" marR="0" marT="0" marB="0" anchor="ctr" horzOverflow="overflow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</a:t>
                      </a: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 O</a:t>
                      </a:r>
                      <a:r>
                        <a:rPr kumimoji="0" lang="en-US" sz="1800" b="0" i="0" u="none" strike="noStrike" cap="none" normalizeH="0" baseline="-2500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 </a:t>
                      </a: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binding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Cyanosis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itchFamily="34" charset="0"/>
                        <a:sym typeface="Symbol" pitchFamily="18" charset="2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275411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on hemoglobin varia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linical significance depends on functional effect and </a:t>
            </a:r>
            <a:r>
              <a:rPr lang="en-US" dirty="0" err="1"/>
              <a:t>zygosit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123D6-A26F-48C4-B68B-48002B28495B}" type="slidenum">
              <a:rPr lang="en-US" smtClean="0"/>
              <a:pPr/>
              <a:t>14</a:t>
            </a:fld>
            <a:r>
              <a:rPr lang="en-US"/>
              <a:t> </a:t>
            </a:r>
            <a:r>
              <a:rPr lang="en-US">
                <a:sym typeface="Symbol"/>
              </a:rPr>
              <a:t></a:t>
            </a: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6443185"/>
              </p:ext>
            </p:extLst>
          </p:nvPr>
        </p:nvGraphicFramePr>
        <p:xfrm>
          <a:off x="640080" y="2133600"/>
          <a:ext cx="7863840" cy="3840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74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0292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Variant (Mutation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Functional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effect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Clinical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disorder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Geographic distribution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Hb S (</a:t>
                      </a:r>
                      <a:r>
                        <a:rPr kumimoji="0" lang="en-US" sz="18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  6 </a:t>
                      </a:r>
                      <a:r>
                        <a:rPr kumimoji="0" lang="en-US" sz="1800" b="1" i="1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Glu</a:t>
                      </a:r>
                      <a:r>
                        <a:rPr kumimoji="0" lang="en-US" sz="1800" b="1" i="1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–</a:t>
                      </a:r>
                      <a:r>
                        <a:rPr kumimoji="0" lang="en-US" sz="18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Wingdings" pitchFamily="2" charset="2"/>
                        </a:rPr>
                        <a:t> Val</a:t>
                      </a:r>
                      <a:r>
                        <a:rPr kumimoji="0" lang="en-US" sz="1800" b="1" i="1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Wingdings" pitchFamily="2" charset="2"/>
                        </a:rPr>
                        <a:t>0</a:t>
                      </a:r>
                      <a:r>
                        <a:rPr kumimoji="0" lang="en-US" sz="18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Wingdings" pitchFamily="2" charset="2"/>
                        </a:rPr>
                        <a:t>)</a:t>
                      </a:r>
                      <a:endParaRPr kumimoji="0" lang="en-US" sz="18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Polymerization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Hemolytic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anemia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Africa, South Asia, Mediterranean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Hb C (</a:t>
                      </a:r>
                      <a:r>
                        <a:rPr kumimoji="0" lang="en-US" sz="18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  6 </a:t>
                      </a:r>
                      <a:r>
                        <a:rPr kumimoji="0" lang="en-US" sz="1800" b="1" i="1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Glu</a:t>
                      </a:r>
                      <a:r>
                        <a:rPr kumimoji="0" lang="en-US" sz="1800" b="1" i="1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–</a:t>
                      </a:r>
                      <a:r>
                        <a:rPr kumimoji="0" lang="en-US" sz="18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Wingdings" pitchFamily="2" charset="2"/>
                        </a:rPr>
                        <a:t> Lys</a:t>
                      </a:r>
                      <a:r>
                        <a:rPr kumimoji="0" lang="en-US" sz="1800" b="1" i="1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Wingdings" pitchFamily="2" charset="2"/>
                        </a:rPr>
                        <a:t>+</a:t>
                      </a:r>
                      <a:r>
                        <a:rPr kumimoji="0" lang="en-US" sz="18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Wingdings" pitchFamily="2" charset="2"/>
                        </a:rPr>
                        <a:t>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Crystallization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Hemolytic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anemia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West Africa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Hb E (</a:t>
                      </a:r>
                      <a:r>
                        <a:rPr kumimoji="0" lang="en-US" sz="18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 26 </a:t>
                      </a:r>
                      <a:r>
                        <a:rPr kumimoji="0" lang="en-US" sz="1800" b="1" i="1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Glu</a:t>
                      </a:r>
                      <a:r>
                        <a:rPr kumimoji="0" lang="en-US" sz="1800" b="1" i="1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–</a:t>
                      </a:r>
                      <a:r>
                        <a:rPr kumimoji="0" lang="en-US" sz="18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Wingdings" pitchFamily="2" charset="2"/>
                        </a:rPr>
                        <a:t> Lys</a:t>
                      </a:r>
                      <a:r>
                        <a:rPr kumimoji="0" lang="en-US" sz="1800" b="1" i="1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Wingdings" pitchFamily="2" charset="2"/>
                        </a:rPr>
                        <a:t>+</a:t>
                      </a:r>
                      <a:r>
                        <a:rPr kumimoji="0" lang="en-US" sz="18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Wingdings" pitchFamily="2" charset="2"/>
                        </a:rPr>
                        <a:t>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 Expression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Thalassemia syndrome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Southeast Asia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Hb D (</a:t>
                      </a: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121 Glu</a:t>
                      </a:r>
                      <a:r>
                        <a:rPr kumimoji="0" lang="en-US" sz="1800" b="0" i="0" u="none" strike="noStrike" cap="none" normalizeH="0" baseline="3000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–</a:t>
                      </a: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 </a:t>
                      </a: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Wingdings" pitchFamily="2" charset="2"/>
                        </a:rPr>
                        <a:t> Gln</a:t>
                      </a:r>
                      <a:r>
                        <a:rPr kumimoji="0" lang="en-US" sz="1800" b="0" i="0" u="none" strike="noStrike" cap="none" normalizeH="0" baseline="3000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Wingdings" pitchFamily="2" charset="2"/>
                        </a:rPr>
                        <a:t>0</a:t>
                      </a: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Wingdings" pitchFamily="2" charset="2"/>
                        </a:rPr>
                        <a:t>)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None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None*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Punjab, Africa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North Europe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Hb O (</a:t>
                      </a: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121 Glu</a:t>
                      </a:r>
                      <a:r>
                        <a:rPr kumimoji="0" lang="en-US" sz="1800" b="0" i="0" u="none" strike="noStrike" cap="none" normalizeH="0" baseline="3000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–</a:t>
                      </a: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Wingdings" pitchFamily="2" charset="2"/>
                        </a:rPr>
                        <a:t> Lys</a:t>
                      </a:r>
                      <a:r>
                        <a:rPr kumimoji="0" lang="en-US" sz="1800" b="0" i="0" u="none" strike="noStrike" cap="none" normalizeH="0" baseline="3000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Wingdings" pitchFamily="2" charset="2"/>
                        </a:rPr>
                        <a:t>+</a:t>
                      </a: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Wingdings" pitchFamily="2" charset="2"/>
                        </a:rPr>
                        <a:t>)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None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None*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Africa, East Europe, rare in Arabia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Hb G (</a:t>
                      </a:r>
                      <a:r>
                        <a:rPr kumimoji="0" lang="el-G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α</a:t>
                      </a: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 68</a:t>
                      </a: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 Asn</a:t>
                      </a:r>
                      <a:r>
                        <a:rPr kumimoji="0" lang="en-US" sz="18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0</a:t>
                      </a: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 </a:t>
                      </a: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Wingdings" pitchFamily="2" charset="2"/>
                        </a:rPr>
                        <a:t> Lys</a:t>
                      </a:r>
                      <a:r>
                        <a:rPr kumimoji="0" lang="en-US" sz="18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Wingdings" pitchFamily="2" charset="2"/>
                        </a:rPr>
                        <a:t>+</a:t>
                      </a: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Wingdings" pitchFamily="2" charset="2"/>
                        </a:rPr>
                        <a:t>)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None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None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itchFamily="34" charset="0"/>
                        <a:sym typeface="Symbol" pitchFamily="18" charset="2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Africa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319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moglobin S (sickle cell) disorde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ost common and significant hemoglobin disorder in U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123D6-A26F-48C4-B68B-48002B28495B}" type="slidenum">
              <a:rPr lang="en-US" smtClean="0"/>
              <a:pPr/>
              <a:t>15</a:t>
            </a:fld>
            <a:r>
              <a:rPr lang="en-US"/>
              <a:t> </a:t>
            </a:r>
            <a:r>
              <a:rPr lang="en-US">
                <a:sym typeface="Symbol"/>
              </a:rPr>
              <a:t></a:t>
            </a: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8269925"/>
              </p:ext>
            </p:extLst>
          </p:nvPr>
        </p:nvGraphicFramePr>
        <p:xfrm>
          <a:off x="662941" y="2057400"/>
          <a:ext cx="7818119" cy="39655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798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6912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6912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5363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Genotype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Frequency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Clinical Severity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Hb AS (trait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/12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––*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Hb S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/375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++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Hb S/</a:t>
                      </a: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 thalassemia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/1167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+/++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Hb SC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/835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+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Hb SC-Harlem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Rare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++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Hb SD-Punjab*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Rare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++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Hb SO-Arab*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Rare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++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371600">
                <a:tc gridSpan="3">
                  <a:txBody>
                    <a:bodyPr/>
                    <a:lstStyle/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accent3">
                            <a:lumMod val="75000"/>
                          </a:schemeClr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*Notes::</a:t>
                      </a:r>
                    </a:p>
                    <a:p>
                      <a:pPr marL="381000" marR="0" lvl="0" indent="-2667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accent3">
                            <a:lumMod val="75000"/>
                          </a:schemeClr>
                        </a:buClr>
                        <a:buSzPct val="90000"/>
                        <a:buFont typeface="Wingdings" pitchFamily="2" charset="2"/>
                        <a:buAutoNum type="arabicPeriod"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Genotype frequencies: US Dept HHS, 1993</a:t>
                      </a:r>
                    </a:p>
                    <a:p>
                      <a:pPr marL="381000" marR="0" lvl="0" indent="-2667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accent3">
                            <a:lumMod val="75000"/>
                          </a:schemeClr>
                        </a:buClr>
                        <a:buSzPct val="90000"/>
                        <a:buFont typeface="Wingdings" pitchFamily="2" charset="2"/>
                        <a:buAutoNum type="arabicPeriod"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Hb AS may become symptomatic in extreme stress</a:t>
                      </a:r>
                    </a:p>
                    <a:p>
                      <a:pPr marL="381000" marR="0" lvl="0" indent="-2667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accent3">
                            <a:lumMod val="75000"/>
                          </a:schemeClr>
                        </a:buClr>
                        <a:buSzPct val="90000"/>
                        <a:buFont typeface="Wingdings" pitchFamily="2" charset="2"/>
                        <a:buAutoNum type="arabicPeriod"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Hb D-Punjab and O-Arab (</a:t>
                      </a: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121 mutations) are non-sickling in trait or homozygous form, but promote Hb S polymerization in compound heterozygous disease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itchFamily="34" charset="0"/>
                        <a:sym typeface="Symbol" pitchFamily="18" charset="2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85801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hophysiology of sickle cell disorder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cclusion of small blood vessels: sickling at low O</a:t>
            </a:r>
            <a:r>
              <a:rPr lang="en-US" baseline="-25000" dirty="0"/>
              <a:t>2</a:t>
            </a:r>
            <a:r>
              <a:rPr lang="en-US" dirty="0"/>
              <a:t> tension</a:t>
            </a:r>
          </a:p>
          <a:p>
            <a:r>
              <a:rPr lang="en-US" dirty="0"/>
              <a:t>Damage of vascular walls: inflammatory and oxidative stre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123D6-A26F-48C4-B68B-48002B28495B}" type="slidenum">
              <a:rPr lang="en-US" smtClean="0"/>
              <a:pPr/>
              <a:t>16</a:t>
            </a:fld>
            <a:r>
              <a:rPr lang="en-US" dirty="0"/>
              <a:t> </a:t>
            </a:r>
            <a:r>
              <a:rPr lang="en-US" dirty="0">
                <a:sym typeface="Symbol"/>
              </a:rPr>
              <a:t></a:t>
            </a:r>
            <a:endParaRPr lang="en-US" dirty="0"/>
          </a:p>
        </p:txBody>
      </p:sp>
      <p:grpSp>
        <p:nvGrpSpPr>
          <p:cNvPr id="3" name="Group 2"/>
          <p:cNvGrpSpPr>
            <a:grpSpLocks noChangeAspect="1"/>
          </p:cNvGrpSpPr>
          <p:nvPr/>
        </p:nvGrpSpPr>
        <p:grpSpPr>
          <a:xfrm>
            <a:off x="1097902" y="2590800"/>
            <a:ext cx="6979298" cy="3352800"/>
            <a:chOff x="892175" y="1109663"/>
            <a:chExt cx="7337425" cy="3233737"/>
          </a:xfrm>
        </p:grpSpPr>
        <p:pic>
          <p:nvPicPr>
            <p:cNvPr id="8" name="Picture 5" descr="C:\Documents and Settings\User\Desktop\ss.jp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2175" y="1109663"/>
              <a:ext cx="7337425" cy="3233737"/>
            </a:xfrm>
            <a:prstGeom prst="rect">
              <a:avLst/>
            </a:prstGeom>
            <a:noFill/>
            <a:ln w="25400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9" name="Straight Connector 8"/>
            <p:cNvCxnSpPr/>
            <p:nvPr/>
          </p:nvCxnSpPr>
          <p:spPr bwMode="auto">
            <a:xfrm>
              <a:off x="5194300" y="1109663"/>
              <a:ext cx="0" cy="3233737"/>
            </a:xfrm>
            <a:prstGeom prst="line">
              <a:avLst/>
            </a:prstGeom>
            <a:noFill/>
            <a:ln w="31750" cap="flat" cmpd="sng" algn="ctr">
              <a:solidFill>
                <a:schemeClr val="bg1">
                  <a:lumMod val="7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6" name="TextBox 5"/>
          <p:cNvSpPr txBox="1"/>
          <p:nvPr/>
        </p:nvSpPr>
        <p:spPr>
          <a:xfrm>
            <a:off x="1867927" y="6019800"/>
            <a:ext cx="54081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mplications are highly prevalent in sickle cell disease</a:t>
            </a:r>
          </a:p>
        </p:txBody>
      </p:sp>
    </p:spTree>
    <p:extLst>
      <p:ext uri="{BB962C8B-B14F-4D97-AF65-F5344CB8AC3E}">
        <p14:creationId xmlns:p14="http://schemas.microsoft.com/office/powerpoint/2010/main" val="37926289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herapeutic approaches for sickle cell disorder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Transfusion (simple or exchange)</a:t>
            </a:r>
          </a:p>
          <a:p>
            <a:pPr lvl="1"/>
            <a:r>
              <a:rPr lang="en-US" dirty="0"/>
              <a:t>Complications: iron overload and alloimmunization</a:t>
            </a:r>
          </a:p>
          <a:p>
            <a:r>
              <a:rPr lang="en-US" dirty="0"/>
              <a:t>Hydroxyurea</a:t>
            </a:r>
          </a:p>
          <a:p>
            <a:pPr lvl="1"/>
            <a:r>
              <a:rPr lang="en-US" dirty="0"/>
              <a:t>Induction of Hb F, which inhibits polymerization of Hb S</a:t>
            </a:r>
          </a:p>
          <a:p>
            <a:r>
              <a:rPr lang="en-US" dirty="0"/>
              <a:t>Pain management</a:t>
            </a:r>
          </a:p>
          <a:p>
            <a:r>
              <a:rPr lang="en-US" dirty="0"/>
              <a:t>Allogeneic hematopoietic stem cell transplant</a:t>
            </a:r>
          </a:p>
          <a:p>
            <a:pPr lvl="1"/>
            <a:r>
              <a:rPr lang="en-US" dirty="0"/>
              <a:t>Limitations: lack of HLA matched donors, morbidity of bone marrow conditioning regimen, risk of graft-vs-host disease</a:t>
            </a:r>
          </a:p>
          <a:p>
            <a:r>
              <a:rPr lang="en-US" dirty="0"/>
              <a:t>Gene therapy</a:t>
            </a:r>
          </a:p>
          <a:p>
            <a:pPr lvl="1"/>
            <a:r>
              <a:rPr lang="en-US" dirty="0"/>
              <a:t>Still experimental but showing promi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123D6-A26F-48C4-B68B-48002B28495B}" type="slidenum">
              <a:rPr lang="en-US" smtClean="0"/>
              <a:pPr/>
              <a:t>17</a:t>
            </a:fld>
            <a:r>
              <a:rPr lang="en-US" dirty="0"/>
              <a:t> </a:t>
            </a:r>
            <a:r>
              <a:rPr lang="en-US" dirty="0">
                <a:sym typeface="Symbol"/>
              </a:rPr>
              <a:t>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30000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ole of laboratory testing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24416717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oratory tests for hemoglobin disorde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0040" y="1447800"/>
            <a:ext cx="8442960" cy="4572000"/>
          </a:xfrm>
        </p:spPr>
        <p:txBody>
          <a:bodyPr>
            <a:normAutofit lnSpcReduction="10000"/>
          </a:bodyPr>
          <a:lstStyle/>
          <a:p>
            <a:r>
              <a:rPr lang="en-US" dirty="0"/>
              <a:t>Peripheral blood smear morphology</a:t>
            </a:r>
          </a:p>
          <a:p>
            <a:r>
              <a:rPr lang="en-US" dirty="0" err="1"/>
              <a:t>Cation</a:t>
            </a:r>
            <a:r>
              <a:rPr lang="en-US" dirty="0"/>
              <a:t>-exchange HPLC; capillary electrophoresis</a:t>
            </a:r>
          </a:p>
          <a:p>
            <a:pPr lvl="1"/>
            <a:r>
              <a:rPr lang="en-US" dirty="0"/>
              <a:t>High-throughput analysis; FDA-approved to quantify Hb F and Hb A2</a:t>
            </a:r>
          </a:p>
          <a:p>
            <a:r>
              <a:rPr lang="en-US" dirty="0"/>
              <a:t>Hemoglobin electrophoresis</a:t>
            </a:r>
          </a:p>
          <a:p>
            <a:pPr lvl="1"/>
            <a:r>
              <a:rPr lang="en-US" dirty="0"/>
              <a:t>Confirmation of abnormal variants on HPLC</a:t>
            </a:r>
          </a:p>
          <a:p>
            <a:r>
              <a:rPr lang="en-US" dirty="0"/>
              <a:t>Solubility tests for sickle hemoglobin</a:t>
            </a:r>
          </a:p>
          <a:p>
            <a:pPr lvl="1"/>
            <a:r>
              <a:rPr lang="en-US" dirty="0"/>
              <a:t>Low volume screening; confirmation of Hb S on HPLC</a:t>
            </a:r>
          </a:p>
          <a:p>
            <a:r>
              <a:rPr lang="en-US" dirty="0"/>
              <a:t>Other</a:t>
            </a:r>
          </a:p>
          <a:p>
            <a:pPr lvl="1"/>
            <a:r>
              <a:rPr lang="en-US" dirty="0"/>
              <a:t>Globin chain electrophoresis and isoelectric focusing</a:t>
            </a:r>
          </a:p>
          <a:p>
            <a:pPr lvl="1"/>
            <a:r>
              <a:rPr lang="el-GR" dirty="0">
                <a:latin typeface="Calibri"/>
              </a:rPr>
              <a:t>α</a:t>
            </a:r>
            <a:r>
              <a:rPr lang="en-US" dirty="0"/>
              <a:t> Globin PCR or gene sequencing: </a:t>
            </a:r>
            <a:r>
              <a:rPr lang="el-GR" dirty="0">
                <a:latin typeface="Calibri"/>
              </a:rPr>
              <a:t>α</a:t>
            </a:r>
            <a:r>
              <a:rPr lang="en-US" dirty="0">
                <a:latin typeface="Calibri"/>
              </a:rPr>
              <a:t> </a:t>
            </a:r>
            <a:r>
              <a:rPr lang="en-US" dirty="0"/>
              <a:t>thalassemia confirmation</a:t>
            </a:r>
          </a:p>
          <a:p>
            <a:pPr lvl="1"/>
            <a:r>
              <a:rPr lang="el-GR" dirty="0">
                <a:latin typeface="Calibri"/>
              </a:rPr>
              <a:t>β</a:t>
            </a:r>
            <a:r>
              <a:rPr lang="en-US" dirty="0"/>
              <a:t> Globin gene sequencing: </a:t>
            </a:r>
            <a:r>
              <a:rPr lang="el-GR" dirty="0">
                <a:latin typeface="Calibri"/>
              </a:rPr>
              <a:t>β</a:t>
            </a:r>
            <a:r>
              <a:rPr lang="en-US" dirty="0">
                <a:latin typeface="Calibri"/>
              </a:rPr>
              <a:t> </a:t>
            </a:r>
            <a:r>
              <a:rPr lang="en-US" dirty="0"/>
              <a:t>thalassemia confi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123D6-A26F-48C4-B68B-48002B28495B}" type="slidenum">
              <a:rPr lang="en-US" smtClean="0"/>
              <a:pPr/>
              <a:t>19</a:t>
            </a:fld>
            <a:r>
              <a:rPr lang="en-US" dirty="0"/>
              <a:t> </a:t>
            </a:r>
            <a:r>
              <a:rPr lang="en-US" dirty="0">
                <a:sym typeface="Symbol"/>
              </a:rPr>
              <a:t>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3097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moglobin disorders (hemoglobinopathies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herited abnormalities of hemoglobin synthesis</a:t>
            </a:r>
          </a:p>
          <a:p>
            <a:pPr lvl="1"/>
            <a:endParaRPr lang="en-US" sz="1200" dirty="0"/>
          </a:p>
          <a:p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halassemias</a:t>
            </a:r>
          </a:p>
          <a:p>
            <a:pPr lvl="1"/>
            <a:r>
              <a:rPr lang="en-US" b="1" i="1" dirty="0">
                <a:solidFill>
                  <a:schemeClr val="accent3">
                    <a:lumMod val="75000"/>
                  </a:schemeClr>
                </a:solidFill>
              </a:rPr>
              <a:t>Quantitative</a:t>
            </a:r>
            <a:r>
              <a:rPr lang="en-US" dirty="0"/>
              <a:t> hemoglobin disorders</a:t>
            </a:r>
          </a:p>
          <a:p>
            <a:pPr lvl="1"/>
            <a:r>
              <a:rPr lang="en-US" dirty="0"/>
              <a:t>Structurally normal protein synthesized at below-normal levels</a:t>
            </a:r>
          </a:p>
          <a:p>
            <a:pPr lvl="2"/>
            <a:r>
              <a:rPr lang="en-US" dirty="0"/>
              <a:t>Important example: beta thalassemia major</a:t>
            </a:r>
          </a:p>
          <a:p>
            <a:endParaRPr lang="en-US" sz="1200" dirty="0"/>
          </a:p>
          <a:p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tructural hemoglobinopathies</a:t>
            </a:r>
          </a:p>
          <a:p>
            <a:pPr lvl="1"/>
            <a:r>
              <a:rPr lang="en-US" b="1" i="1" dirty="0">
                <a:solidFill>
                  <a:schemeClr val="accent3">
                    <a:lumMod val="75000"/>
                  </a:schemeClr>
                </a:solidFill>
              </a:rPr>
              <a:t>Qualitative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 </a:t>
            </a:r>
            <a:r>
              <a:rPr lang="en-US" dirty="0"/>
              <a:t>hemoglobin disorders</a:t>
            </a:r>
          </a:p>
          <a:p>
            <a:pPr lvl="1"/>
            <a:r>
              <a:rPr lang="en-US" dirty="0"/>
              <a:t>Structurally abnormal protein synthesized at near-normal levels</a:t>
            </a:r>
          </a:p>
          <a:p>
            <a:pPr lvl="2"/>
            <a:r>
              <a:rPr lang="en-US" dirty="0"/>
              <a:t>Important example: sickle cell disease</a:t>
            </a:r>
          </a:p>
          <a:p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123D6-A26F-48C4-B68B-48002B28495B}" type="slidenum">
              <a:rPr lang="en-US" smtClean="0"/>
              <a:pPr/>
              <a:t>2</a:t>
            </a:fld>
            <a:r>
              <a:rPr lang="en-US"/>
              <a:t> </a:t>
            </a:r>
            <a:r>
              <a:rPr lang="en-US">
                <a:sym typeface="Symbol"/>
              </a:rPr>
              <a:t>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353886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ications for laboratory test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0040" y="1447800"/>
            <a:ext cx="8442960" cy="4572000"/>
          </a:xfrm>
        </p:spPr>
        <p:txBody>
          <a:bodyPr>
            <a:normAutofit lnSpcReduction="10000"/>
          </a:bodyPr>
          <a:lstStyle/>
          <a:p>
            <a:r>
              <a:rPr lang="en-US" i="1" dirty="0">
                <a:solidFill>
                  <a:schemeClr val="accent3">
                    <a:lumMod val="75000"/>
                  </a:schemeClr>
                </a:solidFill>
              </a:rPr>
              <a:t>Diagnosis</a:t>
            </a:r>
            <a:r>
              <a:rPr lang="en-US" dirty="0"/>
              <a:t> of hemoglobin disorders</a:t>
            </a:r>
          </a:p>
          <a:p>
            <a:pPr lvl="1"/>
            <a:r>
              <a:rPr lang="en-US" dirty="0"/>
              <a:t>Identification of sickle cells or hemoglobin C crystals</a:t>
            </a:r>
          </a:p>
          <a:p>
            <a:pPr lvl="1"/>
            <a:r>
              <a:rPr lang="en-US" dirty="0"/>
              <a:t>Detection of abnormal hemoglobin phenotypes</a:t>
            </a:r>
          </a:p>
          <a:p>
            <a:pPr lvl="1"/>
            <a:r>
              <a:rPr lang="en-US" dirty="0"/>
              <a:t>Quantification of Hb A2 for diagnosis of </a:t>
            </a:r>
            <a:r>
              <a:rPr lang="el-GR" dirty="0">
                <a:latin typeface="Calibri"/>
              </a:rPr>
              <a:t>β</a:t>
            </a:r>
            <a:r>
              <a:rPr lang="en-US" dirty="0"/>
              <a:t> thalassemia</a:t>
            </a:r>
          </a:p>
          <a:p>
            <a:r>
              <a:rPr lang="en-US" i="1" dirty="0">
                <a:solidFill>
                  <a:schemeClr val="accent3">
                    <a:lumMod val="75000"/>
                  </a:schemeClr>
                </a:solidFill>
              </a:rPr>
              <a:t>Screening</a:t>
            </a:r>
            <a:r>
              <a:rPr lang="en-US" dirty="0"/>
              <a:t> of newborns for sickle cell disease</a:t>
            </a:r>
          </a:p>
          <a:p>
            <a:pPr lvl="1"/>
            <a:r>
              <a:rPr lang="en-US" dirty="0"/>
              <a:t>Mandated in all US states for </a:t>
            </a:r>
            <a:r>
              <a:rPr lang="en-US" dirty="0" err="1"/>
              <a:t>presymptomatic</a:t>
            </a:r>
            <a:r>
              <a:rPr lang="en-US" dirty="0"/>
              <a:t> diagnosis</a:t>
            </a:r>
          </a:p>
          <a:p>
            <a:pPr lvl="2"/>
            <a:r>
              <a:rPr lang="en-US" dirty="0"/>
              <a:t>Penicillin prophylaxis:  </a:t>
            </a:r>
            <a:r>
              <a:rPr lang="en-US" dirty="0">
                <a:latin typeface="Calibri" pitchFamily="34" charset="0"/>
                <a:sym typeface="Symbol" pitchFamily="18" charset="2"/>
              </a:rPr>
              <a:t> </a:t>
            </a:r>
            <a:r>
              <a:rPr lang="en-US" dirty="0"/>
              <a:t>childhood mortality from bacteremia</a:t>
            </a:r>
          </a:p>
          <a:p>
            <a:pPr lvl="2"/>
            <a:r>
              <a:rPr lang="en-US" dirty="0"/>
              <a:t>Screening of pregnant women (non-mandated) for high-risk</a:t>
            </a:r>
          </a:p>
          <a:p>
            <a:r>
              <a:rPr lang="en-US" i="1" dirty="0">
                <a:solidFill>
                  <a:schemeClr val="accent3">
                    <a:lumMod val="75000"/>
                  </a:schemeClr>
                </a:solidFill>
              </a:rPr>
              <a:t>Monitoring</a:t>
            </a:r>
            <a:r>
              <a:rPr lang="en-US" dirty="0"/>
              <a:t> of therapy for sickle cell disease</a:t>
            </a:r>
          </a:p>
          <a:p>
            <a:pPr lvl="1"/>
            <a:r>
              <a:rPr lang="en-US" dirty="0"/>
              <a:t>% Hb S after exchange transfusion for acute complications </a:t>
            </a:r>
          </a:p>
          <a:p>
            <a:pPr lvl="1"/>
            <a:r>
              <a:rPr lang="en-US" dirty="0"/>
              <a:t>% Hb F after </a:t>
            </a:r>
            <a:r>
              <a:rPr lang="en-US" dirty="0" err="1"/>
              <a:t>hydroxyurea</a:t>
            </a:r>
            <a:r>
              <a:rPr lang="en-US" dirty="0"/>
              <a:t> induction</a:t>
            </a:r>
          </a:p>
          <a:p>
            <a:pPr lvl="2"/>
            <a:r>
              <a:rPr lang="en-US" dirty="0"/>
              <a:t>The presence of Hb F inhibits polymerization of Hb 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123D6-A26F-48C4-B68B-48002B28495B}" type="slidenum">
              <a:rPr lang="en-US" smtClean="0"/>
              <a:pPr/>
              <a:t>20</a:t>
            </a:fld>
            <a:r>
              <a:rPr lang="en-US" dirty="0"/>
              <a:t> </a:t>
            </a:r>
            <a:r>
              <a:rPr lang="en-US" dirty="0">
                <a:sym typeface="Symbol"/>
              </a:rPr>
              <a:t>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8114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moglobin S &amp; C: red blood cell morpholog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123D6-A26F-48C4-B68B-48002B28495B}" type="slidenum">
              <a:rPr lang="en-US" smtClean="0"/>
              <a:pPr/>
              <a:t>21</a:t>
            </a:fld>
            <a:r>
              <a:rPr lang="en-US"/>
              <a:t> </a:t>
            </a:r>
            <a:r>
              <a:rPr lang="en-US">
                <a:sym typeface="Symbol"/>
              </a:rPr>
              <a:t></a:t>
            </a:r>
            <a:endParaRPr lang="en-US" dirty="0"/>
          </a:p>
        </p:txBody>
      </p:sp>
      <p:sp>
        <p:nvSpPr>
          <p:cNvPr id="7" name="Text Box 6"/>
          <p:cNvSpPr txBox="1">
            <a:spLocks noChangeArrowheads="1"/>
          </p:cNvSpPr>
          <p:nvPr/>
        </p:nvSpPr>
        <p:spPr bwMode="auto">
          <a:xfrm>
            <a:off x="1529584" y="1409700"/>
            <a:ext cx="65081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sz="2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HbSS</a:t>
            </a:r>
            <a:endParaRPr lang="en-US" sz="2400" b="1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</p:txBody>
      </p:sp>
      <p:sp>
        <p:nvSpPr>
          <p:cNvPr id="8" name="Text Box 7"/>
          <p:cNvSpPr txBox="1">
            <a:spLocks noChangeArrowheads="1"/>
          </p:cNvSpPr>
          <p:nvPr/>
        </p:nvSpPr>
        <p:spPr bwMode="auto">
          <a:xfrm>
            <a:off x="4217930" y="1409700"/>
            <a:ext cx="66845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sz="24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HbSC</a:t>
            </a: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831850" y="5486400"/>
            <a:ext cx="2046288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Sickle Cells</a:t>
            </a:r>
          </a:p>
          <a:p>
            <a:pPr algn="ctr" eaLnBrk="1" hangingPunct="1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Howell-Jolly Bodies</a:t>
            </a:r>
          </a:p>
        </p:txBody>
      </p:sp>
      <p:sp>
        <p:nvSpPr>
          <p:cNvPr id="10" name="Text Box 10"/>
          <p:cNvSpPr txBox="1">
            <a:spLocks noChangeArrowheads="1"/>
          </p:cNvSpPr>
          <p:nvPr/>
        </p:nvSpPr>
        <p:spPr bwMode="auto">
          <a:xfrm>
            <a:off x="3268663" y="5486400"/>
            <a:ext cx="2566987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Sickle/Deformed/Target</a:t>
            </a:r>
          </a:p>
          <a:p>
            <a:pPr algn="ctr" eaLnBrk="1" hangingPunct="1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Cells; Hb C Crystals</a:t>
            </a:r>
          </a:p>
        </p:txBody>
      </p:sp>
      <p:sp>
        <p:nvSpPr>
          <p:cNvPr id="11" name="Text Box 11"/>
          <p:cNvSpPr txBox="1">
            <a:spLocks noChangeArrowheads="1"/>
          </p:cNvSpPr>
          <p:nvPr/>
        </p:nvSpPr>
        <p:spPr bwMode="auto">
          <a:xfrm>
            <a:off x="6615113" y="5486400"/>
            <a:ext cx="1312862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Target Cells</a:t>
            </a:r>
          </a:p>
          <a:p>
            <a:pPr algn="ctr" eaLnBrk="1" hangingPunct="1"/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HbC Crystals</a:t>
            </a:r>
          </a:p>
        </p:txBody>
      </p:sp>
      <p:sp>
        <p:nvSpPr>
          <p:cNvPr id="12" name="Text Box 12"/>
          <p:cNvSpPr txBox="1">
            <a:spLocks noChangeArrowheads="1"/>
          </p:cNvSpPr>
          <p:nvPr/>
        </p:nvSpPr>
        <p:spPr bwMode="auto">
          <a:xfrm>
            <a:off x="6926121" y="1409700"/>
            <a:ext cx="68608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sz="24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HbCC</a:t>
            </a:r>
          </a:p>
        </p:txBody>
      </p:sp>
      <p:graphicFrame>
        <p:nvGraphicFramePr>
          <p:cNvPr id="13" name="Object 1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44238317"/>
              </p:ext>
            </p:extLst>
          </p:nvPr>
        </p:nvGraphicFramePr>
        <p:xfrm>
          <a:off x="523081" y="1865313"/>
          <a:ext cx="8061325" cy="3398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Image" r:id="rId3" imgW="6387302" imgH="2692063" progId="Photoshop.Image.7">
                  <p:embed/>
                </p:oleObj>
              </mc:Choice>
              <mc:Fallback>
                <p:oleObj name="Image" r:id="rId3" imgW="6387302" imgH="2692063" progId="Photoshop.Image.7">
                  <p:embed/>
                  <p:pic>
                    <p:nvPicPr>
                      <p:cNvPr id="13" name="Object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lum bright="-6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3081" y="1865313"/>
                        <a:ext cx="8061325" cy="3398837"/>
                      </a:xfrm>
                      <a:prstGeom prst="rect">
                        <a:avLst/>
                      </a:prstGeom>
                      <a:noFill/>
                      <a:ln w="25400">
                        <a:solidFill>
                          <a:schemeClr val="bg1">
                            <a:lumMod val="65000"/>
                          </a:schemeClr>
                        </a:solidFill>
                        <a:miter lim="800000"/>
                        <a:headEnd/>
                        <a:tailEnd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969117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ation</a:t>
            </a:r>
            <a:r>
              <a:rPr lang="en-US" dirty="0"/>
              <a:t>-exchange HPLC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utomated, high-throughput method</a:t>
            </a:r>
          </a:p>
          <a:p>
            <a:pPr lvl="1"/>
            <a:r>
              <a:rPr lang="en-US" dirty="0"/>
              <a:t>Separation by charge: Hb S, Hb C (relatively positive) elute after Hb 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123D6-A26F-48C4-B68B-48002B28495B}" type="slidenum">
              <a:rPr lang="en-US" smtClean="0"/>
              <a:pPr/>
              <a:t>22</a:t>
            </a:fld>
            <a:r>
              <a:rPr lang="en-US"/>
              <a:t> </a:t>
            </a:r>
            <a:r>
              <a:rPr lang="en-US">
                <a:sym typeface="Symbol"/>
              </a:rPr>
              <a:t></a:t>
            </a: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864560" y="5386626"/>
            <a:ext cx="5414880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82880" indent="-182880" eaLnBrk="1" hangingPunct="1">
              <a:buClr>
                <a:schemeClr val="accent3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Limitations:</a:t>
            </a:r>
          </a:p>
          <a:p>
            <a:pPr marL="457200" lvl="1" indent="-182880" eaLnBrk="1" hangingPunct="1"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Requires confirmation of abnormal variants</a:t>
            </a:r>
          </a:p>
          <a:p>
            <a:pPr marL="457200" lvl="1" indent="-182880" eaLnBrk="1" hangingPunct="1"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Coelution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 of Hb A2 with Hb E and </a:t>
            </a:r>
            <a:r>
              <a:rPr lang="en-US" sz="1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glycohemoglobin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 S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608013" y="2362200"/>
            <a:ext cx="7910512" cy="2926080"/>
            <a:chOff x="608013" y="2362200"/>
            <a:chExt cx="7910512" cy="2926080"/>
          </a:xfrm>
        </p:grpSpPr>
        <p:grpSp>
          <p:nvGrpSpPr>
            <p:cNvPr id="19" name="Group 18"/>
            <p:cNvGrpSpPr/>
            <p:nvPr/>
          </p:nvGrpSpPr>
          <p:grpSpPr>
            <a:xfrm>
              <a:off x="608013" y="2362200"/>
              <a:ext cx="7910512" cy="2926080"/>
              <a:chOff x="608013" y="2362200"/>
              <a:chExt cx="7910512" cy="2926080"/>
            </a:xfrm>
          </p:grpSpPr>
          <p:sp>
            <p:nvSpPr>
              <p:cNvPr id="7" name="Rectangle 17"/>
              <p:cNvSpPr>
                <a:spLocks noChangeArrowheads="1"/>
              </p:cNvSpPr>
              <p:nvPr/>
            </p:nvSpPr>
            <p:spPr bwMode="auto">
              <a:xfrm>
                <a:off x="608013" y="2362200"/>
                <a:ext cx="7910512" cy="292608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bg1">
                    <a:lumMod val="6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>
                <a:spAutoFit/>
              </a:bodyPr>
              <a:lstStyle/>
              <a:p>
                <a:endParaRPr lang="en-US"/>
              </a:p>
            </p:txBody>
          </p:sp>
          <p:grpSp>
            <p:nvGrpSpPr>
              <p:cNvPr id="8" name="Group 19"/>
              <p:cNvGrpSpPr>
                <a:grpSpLocks/>
              </p:cNvGrpSpPr>
              <p:nvPr/>
            </p:nvGrpSpPr>
            <p:grpSpPr bwMode="auto">
              <a:xfrm>
                <a:off x="784225" y="2514600"/>
                <a:ext cx="7558087" cy="2519363"/>
                <a:chOff x="469" y="2139"/>
                <a:chExt cx="4761" cy="1587"/>
              </a:xfrm>
            </p:grpSpPr>
            <p:grpSp>
              <p:nvGrpSpPr>
                <p:cNvPr id="9" name="Group 18"/>
                <p:cNvGrpSpPr>
                  <a:grpSpLocks/>
                </p:cNvGrpSpPr>
                <p:nvPr/>
              </p:nvGrpSpPr>
              <p:grpSpPr bwMode="auto">
                <a:xfrm>
                  <a:off x="469" y="2139"/>
                  <a:ext cx="4761" cy="1541"/>
                  <a:chOff x="469" y="2139"/>
                  <a:chExt cx="4761" cy="1541"/>
                </a:xfrm>
              </p:grpSpPr>
              <p:graphicFrame>
                <p:nvGraphicFramePr>
                  <p:cNvPr id="14" name="Object 10"/>
                  <p:cNvGraphicFramePr>
                    <a:graphicFrameLocks noChangeAspect="1"/>
                  </p:cNvGraphicFramePr>
                  <p:nvPr/>
                </p:nvGraphicFramePr>
                <p:xfrm>
                  <a:off x="469" y="2340"/>
                  <a:ext cx="1450" cy="1139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4100" name="Image" r:id="rId3" imgW="5917460" imgH="5003175" progId="Photoshop.Image.7">
                          <p:embed/>
                        </p:oleObj>
                      </mc:Choice>
                      <mc:Fallback>
                        <p:oleObj name="Image" r:id="rId3" imgW="5917460" imgH="5003175" progId="Photoshop.Image.7">
                          <p:embed/>
                          <p:pic>
                            <p:nvPicPr>
                              <p:cNvPr id="14" name="Object 10"/>
                              <p:cNvPicPr>
                                <a:picLocks noChangeAspect="1" noChangeArrowheads="1"/>
                              </p:cNvPicPr>
                              <p:nvPr/>
                            </p:nvPicPr>
                            <p:blipFill>
                              <a:blip r:embed="rId4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</a:extLst>
                              </a:blip>
                              <a:srcRect/>
                              <a:stretch>
                                <a:fillRect/>
                              </a:stretch>
                            </p:blipFill>
                            <p:spPr bwMode="auto">
                              <a:xfrm>
                                <a:off x="469" y="2340"/>
                                <a:ext cx="1450" cy="1139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  <a:effectLst/>
                              <a:extLst>
                                <a:ext uri="{909E8E84-426E-40DD-AFC4-6F175D3DCCD1}">
                                  <a14:hiddenFill xmlns:a14="http://schemas.microsoft.com/office/drawing/2010/main">
                                    <a:solidFill>
                                      <a:schemeClr val="accent1"/>
                                    </a:solidFill>
                                  </a14:hiddenFill>
                                </a:ex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chemeClr val="tx1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  <a:ext uri="{AF507438-7753-43E0-B8FC-AC1667EBCBE1}">
                                  <a14:hiddenEffects xmlns:a14="http://schemas.microsoft.com/office/drawing/2010/main">
                                    <a:effectLst>
                                      <a:outerShdw dist="35921" dir="2700000" algn="ctr" rotWithShape="0">
                                        <a:schemeClr val="bg2"/>
                                      </a:outerShdw>
                                    </a:effectLst>
                                  </a14:hiddenEffects>
                                </a:ext>
                              </a:extLst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  <p:graphicFrame>
                <p:nvGraphicFramePr>
                  <p:cNvPr id="15" name="Object 11"/>
                  <p:cNvGraphicFramePr>
                    <a:graphicFrameLocks noChangeAspect="1"/>
                  </p:cNvGraphicFramePr>
                  <p:nvPr/>
                </p:nvGraphicFramePr>
                <p:xfrm>
                  <a:off x="1963" y="2139"/>
                  <a:ext cx="3267" cy="1541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4101" name="Image" r:id="rId5" imgW="5498413" imgH="2793651" progId="Photoshop.Image.7">
                          <p:embed/>
                        </p:oleObj>
                      </mc:Choice>
                      <mc:Fallback>
                        <p:oleObj name="Image" r:id="rId5" imgW="5498413" imgH="2793651" progId="Photoshop.Image.7">
                          <p:embed/>
                          <p:pic>
                            <p:nvPicPr>
                              <p:cNvPr id="15" name="Object 11"/>
                              <p:cNvPicPr>
                                <a:picLocks noChangeAspect="1" noChangeArrowheads="1"/>
                              </p:cNvPicPr>
                              <p:nvPr/>
                            </p:nvPicPr>
                            <p:blipFill>
                              <a:blip r:embed="rId6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</a:extLst>
                              </a:blip>
                              <a:srcRect/>
                              <a:stretch>
                                <a:fillRect/>
                              </a:stretch>
                            </p:blipFill>
                            <p:spPr bwMode="auto">
                              <a:xfrm>
                                <a:off x="1963" y="2139"/>
                                <a:ext cx="3267" cy="1541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  <a:effectLst/>
                              <a:extLst>
                                <a:ext uri="{909E8E84-426E-40DD-AFC4-6F175D3DCCD1}">
                                  <a14:hiddenFill xmlns:a14="http://schemas.microsoft.com/office/drawing/2010/main">
                                    <a:solidFill>
                                      <a:schemeClr val="accent1"/>
                                    </a:solidFill>
                                  </a14:hiddenFill>
                                </a:ex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chemeClr val="tx1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  <a:ext uri="{AF507438-7753-43E0-B8FC-AC1667EBCBE1}">
                                  <a14:hiddenEffects xmlns:a14="http://schemas.microsoft.com/office/drawing/2010/main">
                                    <a:effectLst>
                                      <a:outerShdw dist="35921" dir="2700000" algn="ctr" rotWithShape="0">
                                        <a:schemeClr val="bg2"/>
                                      </a:outerShdw>
                                    </a:effectLst>
                                  </a14:hiddenEffects>
                                </a:ext>
                              </a:extLst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</p:grpSp>
            <p:grpSp>
              <p:nvGrpSpPr>
                <p:cNvPr id="10" name="Group 14"/>
                <p:cNvGrpSpPr>
                  <a:grpSpLocks/>
                </p:cNvGrpSpPr>
                <p:nvPr/>
              </p:nvGrpSpPr>
              <p:grpSpPr bwMode="auto">
                <a:xfrm>
                  <a:off x="1775" y="3467"/>
                  <a:ext cx="758" cy="229"/>
                  <a:chOff x="1766" y="3467"/>
                  <a:chExt cx="758" cy="229"/>
                </a:xfrm>
              </p:grpSpPr>
              <p:sp>
                <p:nvSpPr>
                  <p:cNvPr id="12" name="Line 12"/>
                  <p:cNvSpPr>
                    <a:spLocks noChangeShapeType="1"/>
                  </p:cNvSpPr>
                  <p:nvPr/>
                </p:nvSpPr>
                <p:spPr bwMode="auto">
                  <a:xfrm>
                    <a:off x="1766" y="3696"/>
                    <a:ext cx="758" cy="0"/>
                  </a:xfrm>
                  <a:prstGeom prst="line">
                    <a:avLst/>
                  </a:prstGeom>
                  <a:noFill/>
                  <a:ln w="3810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lIns="0" tIns="0" rIns="0" bIns="0">
                    <a:spAutoFit/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3" name="Line 13"/>
                  <p:cNvSpPr>
                    <a:spLocks noChangeShapeType="1"/>
                  </p:cNvSpPr>
                  <p:nvPr/>
                </p:nvSpPr>
                <p:spPr bwMode="auto">
                  <a:xfrm flipH="1" flipV="1">
                    <a:off x="2524" y="3467"/>
                    <a:ext cx="0" cy="229"/>
                  </a:xfrm>
                  <a:prstGeom prst="line">
                    <a:avLst/>
                  </a:prstGeom>
                  <a:noFill/>
                  <a:ln w="38100">
                    <a:solidFill>
                      <a:schemeClr val="tx1"/>
                    </a:solidFill>
                    <a:round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lIns="0" tIns="0" rIns="0" bIns="0">
                    <a:spAutoFit/>
                  </a:bodyPr>
                  <a:lstStyle/>
                  <a:p>
                    <a:endParaRPr lang="en-US"/>
                  </a:p>
                </p:txBody>
              </p:sp>
            </p:grpSp>
            <p:sp>
              <p:nvSpPr>
                <p:cNvPr id="11" name="Text Box 15"/>
                <p:cNvSpPr txBox="1">
                  <a:spLocks noChangeArrowheads="1"/>
                </p:cNvSpPr>
                <p:nvPr/>
              </p:nvSpPr>
              <p:spPr bwMode="auto">
                <a:xfrm>
                  <a:off x="1391" y="3572"/>
                  <a:ext cx="374" cy="15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sz="1600" b="1" i="1">
                      <a:latin typeface="Calibri" pitchFamily="34" charset="0"/>
                    </a:rPr>
                    <a:t>Hb A1c</a:t>
                  </a:r>
                </a:p>
              </p:txBody>
            </p:sp>
          </p:grpSp>
        </p:grpSp>
        <p:sp>
          <p:nvSpPr>
            <p:cNvPr id="6" name="Rectangle 5"/>
            <p:cNvSpPr/>
            <p:nvPr/>
          </p:nvSpPr>
          <p:spPr>
            <a:xfrm>
              <a:off x="7040687" y="4953000"/>
              <a:ext cx="921727" cy="246221"/>
            </a:xfrm>
            <a:prstGeom prst="rect">
              <a:avLst/>
            </a:prstGeom>
            <a:noFill/>
            <a:ln w="25400">
              <a:noFill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</a:rPr>
                <a:t>Time (min)</a:t>
              </a:r>
              <a:endParaRPr lang="en-US" sz="1600" b="1" dirty="0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4495800" y="4953000"/>
              <a:ext cx="921727" cy="246221"/>
            </a:xfrm>
            <a:prstGeom prst="rect">
              <a:avLst/>
            </a:prstGeom>
            <a:noFill/>
            <a:ln w="25400">
              <a:noFill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</a:rPr>
                <a:t>Time (min)</a:t>
              </a:r>
              <a:endParaRPr lang="en-US" sz="16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2452787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pillary electrophoresi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6898" y="2362200"/>
            <a:ext cx="4843502" cy="3346354"/>
          </a:xfrm>
          <a:ln w="25400">
            <a:solidFill>
              <a:schemeClr val="bg1">
                <a:lumMod val="65000"/>
              </a:schemeClr>
            </a:solidFill>
          </a:ln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123D6-A26F-48C4-B68B-48002B28495B}" type="slidenum">
              <a:rPr lang="en-US" smtClean="0"/>
              <a:pPr/>
              <a:t>23</a:t>
            </a:fld>
            <a:r>
              <a:rPr lang="en-US"/>
              <a:t> </a:t>
            </a:r>
            <a:r>
              <a:rPr lang="en-US">
                <a:sym typeface="Symbol"/>
              </a:rPr>
              <a:t>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438400" y="6093023"/>
            <a:ext cx="42672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ttp://www.sebia-usa.com/products/capillarys.html</a:t>
            </a: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320040" y="1447800"/>
            <a:ext cx="8503920" cy="4572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ts val="1200"/>
              </a:spcBef>
              <a:buClr>
                <a:schemeClr val="accent3">
                  <a:lumMod val="75000"/>
                </a:schemeClr>
              </a:buClr>
              <a:buFont typeface="Arial" pitchFamily="34" charset="0"/>
              <a:buChar char="•"/>
              <a:defRPr sz="2400" b="1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bg1">
                  <a:lumMod val="65000"/>
                </a:schemeClr>
              </a:buClr>
              <a:buFont typeface="Arial" pitchFamily="34" charset="0"/>
              <a:buChar char="•"/>
              <a:defRPr sz="20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65000"/>
                </a:schemeClr>
              </a:buClr>
              <a:buFont typeface="Arial" pitchFamily="34" charset="0"/>
              <a:buChar char="•"/>
              <a:defRPr sz="20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65000"/>
                </a:schemeClr>
              </a:buClr>
              <a:buFont typeface="Arial" pitchFamily="34" charset="0"/>
              <a:buChar char="•"/>
              <a:defRPr sz="20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65000"/>
                </a:schemeClr>
              </a:buClr>
              <a:buFont typeface="Arial" pitchFamily="34" charset="0"/>
              <a:buChar char="•"/>
              <a:defRPr sz="20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utomated, high-throughput method</a:t>
            </a:r>
          </a:p>
          <a:p>
            <a:pPr lvl="1"/>
            <a:r>
              <a:rPr lang="en-US" dirty="0"/>
              <a:t>Separation by charge and electrophoretic mobility</a:t>
            </a: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747509" y="5742801"/>
            <a:ext cx="564898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74320" lvl="1" indent="0" eaLnBrk="1" hangingPunct="1">
              <a:buClr>
                <a:schemeClr val="bg1">
                  <a:lumMod val="65000"/>
                </a:schemeClr>
              </a:buClr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Hb A2 does not </a:t>
            </a:r>
            <a:r>
              <a:rPr lang="en-US" sz="1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coelute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 with Hb E and </a:t>
            </a:r>
            <a:r>
              <a:rPr lang="en-US" sz="1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glycohemoglobin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 S</a:t>
            </a:r>
          </a:p>
        </p:txBody>
      </p:sp>
    </p:spTree>
    <p:extLst>
      <p:ext uri="{BB962C8B-B14F-4D97-AF65-F5344CB8AC3E}">
        <p14:creationId xmlns:p14="http://schemas.microsoft.com/office/powerpoint/2010/main" val="50890199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moglobin electrophoresi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abor-intensive, low-throughput method</a:t>
            </a:r>
          </a:p>
          <a:p>
            <a:pPr lvl="1"/>
            <a:r>
              <a:rPr lang="en-US" dirty="0"/>
              <a:t>Separation of important variant hemoglobi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123D6-A26F-48C4-B68B-48002B28495B}" type="slidenum">
              <a:rPr lang="en-US" smtClean="0"/>
              <a:pPr/>
              <a:t>24</a:t>
            </a:fld>
            <a:r>
              <a:rPr lang="en-US"/>
              <a:t> </a:t>
            </a:r>
            <a:r>
              <a:rPr lang="en-US">
                <a:sym typeface="Symbol"/>
              </a:rPr>
              <a:t></a:t>
            </a:r>
            <a:endParaRPr lang="en-US" dirty="0"/>
          </a:p>
        </p:txBody>
      </p:sp>
      <p:graphicFrame>
        <p:nvGraphicFramePr>
          <p:cNvPr id="6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08708540"/>
              </p:ext>
            </p:extLst>
          </p:nvPr>
        </p:nvGraphicFramePr>
        <p:xfrm>
          <a:off x="2377440" y="2391264"/>
          <a:ext cx="4389120" cy="39333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Image" r:id="rId3" imgW="5120650" imgH="4589714" progId="Photoshop.Image.7">
                  <p:embed/>
                </p:oleObj>
              </mc:Choice>
              <mc:Fallback>
                <p:oleObj name="Image" r:id="rId3" imgW="5120650" imgH="4589714" progId="Photoshop.Image.7">
                  <p:embed/>
                  <p:pic>
                    <p:nvPicPr>
                      <p:cNvPr id="6" name="Object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77440" y="2391264"/>
                        <a:ext cx="4389120" cy="3933336"/>
                      </a:xfrm>
                      <a:prstGeom prst="rect">
                        <a:avLst/>
                      </a:prstGeom>
                      <a:noFill/>
                      <a:ln w="25400">
                        <a:solidFill>
                          <a:schemeClr val="bg1">
                            <a:lumMod val="65000"/>
                          </a:schemeClr>
                        </a:solidFill>
                        <a:miter lim="800000"/>
                        <a:headEnd/>
                        <a:tailEnd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860538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moglobin electrophoresi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80160" y="4495800"/>
            <a:ext cx="6583680" cy="1752600"/>
          </a:xfrm>
        </p:spPr>
        <p:txBody>
          <a:bodyPr>
            <a:noAutofit/>
          </a:bodyPr>
          <a:lstStyle/>
          <a:p>
            <a:r>
              <a:rPr lang="en-US" sz="2000" dirty="0"/>
              <a:t>Cellulose acetate (alkaline): initial run</a:t>
            </a:r>
          </a:p>
          <a:p>
            <a:pPr lvl="1"/>
            <a:r>
              <a:rPr lang="en-US" sz="1800" dirty="0"/>
              <a:t>Common variants separated from Hb A</a:t>
            </a:r>
          </a:p>
          <a:p>
            <a:pPr lvl="1"/>
            <a:r>
              <a:rPr lang="en-US" sz="1800" dirty="0"/>
              <a:t>Hb E, Hb O migrate with Hb C; Hb D, Hb G migrate with Hb S</a:t>
            </a:r>
          </a:p>
          <a:p>
            <a:r>
              <a:rPr lang="en-US" sz="2000" dirty="0"/>
              <a:t>Citrate agar (acid):  confirmation of Hb S or Hb C</a:t>
            </a:r>
          </a:p>
          <a:p>
            <a:pPr lvl="1"/>
            <a:r>
              <a:rPr lang="en-US" sz="1800" dirty="0"/>
              <a:t>Hb E, Hb O, Hb D, Hb G migrate with Hb 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123D6-A26F-48C4-B68B-48002B28495B}" type="slidenum">
              <a:rPr lang="en-US" smtClean="0"/>
              <a:pPr/>
              <a:t>25</a:t>
            </a:fld>
            <a:r>
              <a:rPr lang="en-US" dirty="0"/>
              <a:t> </a:t>
            </a:r>
            <a:r>
              <a:rPr lang="en-US" dirty="0">
                <a:sym typeface="Symbol"/>
              </a:rPr>
              <a:t></a:t>
            </a:r>
            <a:endParaRPr lang="en-US" dirty="0"/>
          </a:p>
        </p:txBody>
      </p:sp>
      <p:pic>
        <p:nvPicPr>
          <p:cNvPr id="7" name="Picture 4"/>
          <p:cNvPicPr preferRelativeResize="0"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5" t="66672" r="3217" b="1495"/>
          <a:stretch>
            <a:fillRect/>
          </a:stretch>
        </p:blipFill>
        <p:spPr bwMode="auto">
          <a:xfrm>
            <a:off x="1371600" y="1519733"/>
            <a:ext cx="6400800" cy="2823667"/>
          </a:xfrm>
          <a:prstGeom prst="rect">
            <a:avLst/>
          </a:prstGeom>
          <a:noFill/>
          <a:ln w="2540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8270457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ckle solubility te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123D6-A26F-48C4-B68B-48002B28495B}" type="slidenum">
              <a:rPr lang="en-US" smtClean="0"/>
              <a:pPr/>
              <a:t>26</a:t>
            </a:fld>
            <a:r>
              <a:rPr lang="en-US" dirty="0"/>
              <a:t> </a:t>
            </a:r>
            <a:r>
              <a:rPr lang="en-US" dirty="0">
                <a:sym typeface="Symbol"/>
              </a:rPr>
              <a:t></a:t>
            </a:r>
            <a:endParaRPr lang="en-US" dirty="0"/>
          </a:p>
        </p:txBody>
      </p:sp>
      <p:pic>
        <p:nvPicPr>
          <p:cNvPr id="5" name="Picture 7" descr="C:\Documents and Settings\User\Desktop\sol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799"/>
          <a:stretch>
            <a:fillRect/>
          </a:stretch>
        </p:blipFill>
        <p:spPr bwMode="auto">
          <a:xfrm>
            <a:off x="1463040" y="1447800"/>
            <a:ext cx="6217920" cy="3015869"/>
          </a:xfrm>
          <a:prstGeom prst="rect">
            <a:avLst/>
          </a:prstGeom>
          <a:noFill/>
          <a:ln w="2540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ontent Placeholder 2"/>
          <p:cNvSpPr txBox="1">
            <a:spLocks/>
          </p:cNvSpPr>
          <p:nvPr/>
        </p:nvSpPr>
        <p:spPr>
          <a:xfrm>
            <a:off x="731520" y="4572000"/>
            <a:ext cx="7680960" cy="1447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ts val="1200"/>
              </a:spcBef>
              <a:buClr>
                <a:schemeClr val="accent3">
                  <a:lumMod val="75000"/>
                </a:schemeClr>
              </a:buClr>
              <a:buFont typeface="Arial" pitchFamily="34" charset="0"/>
              <a:buChar char="•"/>
              <a:defRPr sz="2400" b="1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bg1">
                  <a:lumMod val="65000"/>
                </a:schemeClr>
              </a:buClr>
              <a:buFont typeface="Arial" pitchFamily="34" charset="0"/>
              <a:buChar char="•"/>
              <a:defRPr sz="20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65000"/>
                </a:schemeClr>
              </a:buClr>
              <a:buFont typeface="Arial" pitchFamily="34" charset="0"/>
              <a:buChar char="•"/>
              <a:defRPr sz="20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65000"/>
                </a:schemeClr>
              </a:buClr>
              <a:buFont typeface="Arial" pitchFamily="34" charset="0"/>
              <a:buChar char="•"/>
              <a:defRPr sz="20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65000"/>
                </a:schemeClr>
              </a:buClr>
              <a:buFont typeface="Arial" pitchFamily="34" charset="0"/>
              <a:buChar char="•"/>
              <a:defRPr sz="20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</a:pPr>
            <a:r>
              <a:rPr lang="en-US" sz="1800" b="0" dirty="0"/>
              <a:t>Not a diagnostic test: Hb AS and Hb SS are both positive</a:t>
            </a:r>
          </a:p>
          <a:p>
            <a:pPr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</a:pPr>
            <a:r>
              <a:rPr lang="en-US" sz="1800" b="0" dirty="0"/>
              <a:t>Not useful for infants &lt; 6 months: low Hb S and high Hb F levels</a:t>
            </a:r>
          </a:p>
          <a:p>
            <a:pPr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</a:pPr>
            <a:r>
              <a:rPr lang="en-US" sz="1800" b="0" dirty="0"/>
              <a:t>Potential false negative results: severe anemia or exchange transfusion</a:t>
            </a:r>
          </a:p>
          <a:p>
            <a:pPr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</a:pPr>
            <a:r>
              <a:rPr lang="en-US" sz="1800" b="0" dirty="0"/>
              <a:t>Potential false positive results: sample turbidity (eg: high lipids, paraprotein)</a:t>
            </a:r>
          </a:p>
        </p:txBody>
      </p:sp>
    </p:spTree>
    <p:extLst>
      <p:ext uri="{BB962C8B-B14F-4D97-AF65-F5344CB8AC3E}">
        <p14:creationId xmlns:p14="http://schemas.microsoft.com/office/powerpoint/2010/main" val="386605474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ase review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5501" y="5098700"/>
            <a:ext cx="5278995" cy="692500"/>
          </a:xfrm>
        </p:spPr>
        <p:txBody>
          <a:bodyPr>
            <a:noAutofit/>
          </a:bodyPr>
          <a:lstStyle/>
          <a:p>
            <a:endParaRPr lang="en-US" sz="1800" b="0" dirty="0"/>
          </a:p>
        </p:txBody>
      </p:sp>
    </p:spTree>
    <p:extLst>
      <p:ext uri="{BB962C8B-B14F-4D97-AF65-F5344CB8AC3E}">
        <p14:creationId xmlns:p14="http://schemas.microsoft.com/office/powerpoint/2010/main" val="220714653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oratory review: major hemoglobin varia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123D6-A26F-48C4-B68B-48002B28495B}" type="slidenum">
              <a:rPr lang="en-US" smtClean="0"/>
              <a:pPr/>
              <a:t>28</a:t>
            </a:fld>
            <a:r>
              <a:rPr lang="en-US"/>
              <a:t> </a:t>
            </a:r>
            <a:r>
              <a:rPr lang="en-US">
                <a:sym typeface="Symbol"/>
              </a:rPr>
              <a:t></a:t>
            </a:r>
            <a:endParaRPr lang="en-US" dirty="0"/>
          </a:p>
        </p:txBody>
      </p:sp>
      <p:graphicFrame>
        <p:nvGraphicFramePr>
          <p:cNvPr id="5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17794259"/>
              </p:ext>
            </p:extLst>
          </p:nvPr>
        </p:nvGraphicFramePr>
        <p:xfrm>
          <a:off x="676374" y="1447800"/>
          <a:ext cx="1971576" cy="4297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Image" r:id="rId3" imgW="2412698" imgH="5257143" progId="Photoshop.Image.7">
                  <p:embed/>
                </p:oleObj>
              </mc:Choice>
              <mc:Fallback>
                <p:oleObj name="Image" r:id="rId3" imgW="2412698" imgH="5257143" progId="Photoshop.Image.7">
                  <p:embed/>
                  <p:pic>
                    <p:nvPicPr>
                      <p:cNvPr id="5" name="Objec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76374" y="1447800"/>
                        <a:ext cx="1971576" cy="4297680"/>
                      </a:xfrm>
                      <a:prstGeom prst="rect">
                        <a:avLst/>
                      </a:prstGeom>
                      <a:noFill/>
                      <a:ln w="25400">
                        <a:solidFill>
                          <a:schemeClr val="bg1">
                            <a:lumMod val="65000"/>
                          </a:schemeClr>
                        </a:solidFill>
                        <a:miter lim="800000"/>
                        <a:headEnd/>
                        <a:tailEnd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62297818"/>
              </p:ext>
            </p:extLst>
          </p:nvPr>
        </p:nvGraphicFramePr>
        <p:xfrm>
          <a:off x="3543399" y="1447800"/>
          <a:ext cx="1971576" cy="4297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Image" r:id="rId5" imgW="2412698" imgH="5257143" progId="Photoshop.Image.7">
                  <p:embed/>
                </p:oleObj>
              </mc:Choice>
              <mc:Fallback>
                <p:oleObj name="Image" r:id="rId5" imgW="2412698" imgH="5257143" progId="Photoshop.Image.7">
                  <p:embed/>
                  <p:pic>
                    <p:nvPicPr>
                      <p:cNvPr id="6" name="Object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543399" y="1447800"/>
                        <a:ext cx="1971576" cy="4297680"/>
                      </a:xfrm>
                      <a:prstGeom prst="rect">
                        <a:avLst/>
                      </a:prstGeom>
                      <a:noFill/>
                      <a:ln w="25400">
                        <a:solidFill>
                          <a:schemeClr val="bg1">
                            <a:lumMod val="65000"/>
                          </a:schemeClr>
                        </a:solidFill>
                        <a:miter lim="800000"/>
                        <a:headEnd/>
                        <a:tailEnd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82451813"/>
              </p:ext>
            </p:extLst>
          </p:nvPr>
        </p:nvGraphicFramePr>
        <p:xfrm>
          <a:off x="6410424" y="1447800"/>
          <a:ext cx="1971576" cy="4297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Image" r:id="rId7" imgW="2412698" imgH="5257143" progId="Photoshop.Image.7">
                  <p:embed/>
                </p:oleObj>
              </mc:Choice>
              <mc:Fallback>
                <p:oleObj name="Image" r:id="rId7" imgW="2412698" imgH="5257143" progId="Photoshop.Image.7">
                  <p:embed/>
                  <p:pic>
                    <p:nvPicPr>
                      <p:cNvPr id="7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410424" y="1447800"/>
                        <a:ext cx="1971576" cy="4297680"/>
                      </a:xfrm>
                      <a:prstGeom prst="rect">
                        <a:avLst/>
                      </a:prstGeom>
                      <a:noFill/>
                      <a:ln w="25400">
                        <a:solidFill>
                          <a:schemeClr val="bg1">
                            <a:lumMod val="65000"/>
                          </a:schemeClr>
                        </a:solidFill>
                        <a:miter lim="800000"/>
                        <a:headEnd/>
                        <a:tailEnd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3"/>
          <p:cNvSpPr txBox="1">
            <a:spLocks noChangeArrowheads="1"/>
          </p:cNvSpPr>
          <p:nvPr/>
        </p:nvSpPr>
        <p:spPr bwMode="auto">
          <a:xfrm>
            <a:off x="7107238" y="5791200"/>
            <a:ext cx="6096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b="1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Hb SC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FAC10C4-BCD4-4E5D-B92A-9682D8D4D915}"/>
              </a:ext>
            </a:extLst>
          </p:cNvPr>
          <p:cNvGrpSpPr/>
          <p:nvPr/>
        </p:nvGrpSpPr>
        <p:grpSpPr>
          <a:xfrm>
            <a:off x="661045" y="5791200"/>
            <a:ext cx="2040559" cy="615555"/>
            <a:chOff x="661045" y="5791200"/>
            <a:chExt cx="2040559" cy="615555"/>
          </a:xfrm>
        </p:grpSpPr>
        <p:sp>
          <p:nvSpPr>
            <p:cNvPr id="8" name="Text Box 11"/>
            <p:cNvSpPr txBox="1">
              <a:spLocks noChangeArrowheads="1"/>
            </p:cNvSpPr>
            <p:nvPr/>
          </p:nvSpPr>
          <p:spPr bwMode="auto">
            <a:xfrm>
              <a:off x="1381125" y="5791200"/>
              <a:ext cx="595313" cy="304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</a:rPr>
                <a:t>Hb SS</a:t>
              </a: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0B3BC30-2988-4C3D-99EE-7953B42161BB}"/>
                </a:ext>
              </a:extLst>
            </p:cNvPr>
            <p:cNvSpPr/>
            <p:nvPr/>
          </p:nvSpPr>
          <p:spPr>
            <a:xfrm>
              <a:off x="661045" y="6068201"/>
              <a:ext cx="204055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fontAlgn="base">
                <a:spcBef>
                  <a:spcPct val="0"/>
                </a:spcBef>
                <a:buClr>
                  <a:srgbClr val="003366"/>
                </a:buClr>
                <a:buSzPct val="90000"/>
              </a:pPr>
              <a:r>
                <a:rPr lang="en-US" sz="16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</a:rPr>
                <a:t>Hb S (</a:t>
              </a:r>
              <a:r>
                <a:rPr lang="en-US" sz="16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sym typeface="Symbol" pitchFamily="18" charset="2"/>
                </a:rPr>
                <a:t>  6 Glu</a:t>
              </a:r>
              <a:r>
                <a:rPr lang="en-US" sz="1600" b="1" i="1" baseline="30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sym typeface="Symbol" pitchFamily="18" charset="2"/>
                </a:rPr>
                <a:t>–</a:t>
              </a:r>
              <a:r>
                <a:rPr lang="en-US" sz="16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sym typeface="Wingdings" pitchFamily="2" charset="2"/>
                </a:rPr>
                <a:t> Val</a:t>
              </a:r>
              <a:r>
                <a:rPr lang="en-US" sz="1600" b="1" i="1" baseline="30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sym typeface="Wingdings" pitchFamily="2" charset="2"/>
                </a:rPr>
                <a:t>0</a:t>
              </a:r>
              <a:r>
                <a:rPr lang="en-US" sz="16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sym typeface="Wingdings" pitchFamily="2" charset="2"/>
                </a:rPr>
                <a:t>)</a:t>
              </a:r>
              <a:endPara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13B3707-6C07-460A-AB03-82B69E9F9CF7}"/>
              </a:ext>
            </a:extLst>
          </p:cNvPr>
          <p:cNvGrpSpPr/>
          <p:nvPr/>
        </p:nvGrpSpPr>
        <p:grpSpPr>
          <a:xfrm>
            <a:off x="3512113" y="5791200"/>
            <a:ext cx="2034147" cy="615555"/>
            <a:chOff x="3512113" y="5791200"/>
            <a:chExt cx="2034147" cy="615555"/>
          </a:xfrm>
        </p:grpSpPr>
        <p:sp>
          <p:nvSpPr>
            <p:cNvPr id="9" name="Text Box 12"/>
            <p:cNvSpPr txBox="1">
              <a:spLocks noChangeArrowheads="1"/>
            </p:cNvSpPr>
            <p:nvPr/>
          </p:nvSpPr>
          <p:spPr bwMode="auto">
            <a:xfrm>
              <a:off x="4241800" y="5791200"/>
              <a:ext cx="623888" cy="304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</a:rPr>
                <a:t>Hb CC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E82C9F0-5261-4664-9528-76AEB79DF252}"/>
                </a:ext>
              </a:extLst>
            </p:cNvPr>
            <p:cNvSpPr/>
            <p:nvPr/>
          </p:nvSpPr>
          <p:spPr>
            <a:xfrm>
              <a:off x="3512113" y="6068201"/>
              <a:ext cx="2034147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fontAlgn="base">
                <a:spcBef>
                  <a:spcPct val="0"/>
                </a:spcBef>
                <a:buClr>
                  <a:srgbClr val="003366"/>
                </a:buClr>
                <a:buSzPct val="90000"/>
              </a:pPr>
              <a:r>
                <a:rPr lang="en-US" sz="16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</a:rPr>
                <a:t>Hb C (</a:t>
              </a:r>
              <a:r>
                <a:rPr lang="en-US" sz="16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sym typeface="Symbol" pitchFamily="18" charset="2"/>
                </a:rPr>
                <a:t>  6 Glu</a:t>
              </a:r>
              <a:r>
                <a:rPr lang="en-US" sz="1600" b="1" i="1" baseline="30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sym typeface="Symbol" pitchFamily="18" charset="2"/>
                </a:rPr>
                <a:t>–</a:t>
              </a:r>
              <a:r>
                <a:rPr lang="en-US" sz="16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sym typeface="Wingdings" pitchFamily="2" charset="2"/>
                </a:rPr>
                <a:t> Lys</a:t>
              </a:r>
              <a:r>
                <a:rPr lang="en-US" sz="1600" b="1" i="1" baseline="30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sym typeface="Wingdings" pitchFamily="2" charset="2"/>
                </a:rPr>
                <a:t>+</a:t>
              </a:r>
              <a:r>
                <a:rPr lang="en-US" sz="16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sym typeface="Wingdings" pitchFamily="2" charset="2"/>
                </a:rPr>
                <a:t>)</a:t>
              </a:r>
              <a:endPara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17464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utoUpdateAnimBg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oratory review: major hemoglobin varia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egnant female at prenatal screen; mild microcytic anemi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123D6-A26F-48C4-B68B-48002B28495B}" type="slidenum">
              <a:rPr lang="en-US" smtClean="0"/>
              <a:pPr/>
              <a:t>29</a:t>
            </a:fld>
            <a:r>
              <a:rPr lang="en-US" dirty="0"/>
              <a:t> </a:t>
            </a:r>
            <a:r>
              <a:rPr lang="en-US" dirty="0">
                <a:sym typeface="Symbol"/>
              </a:rPr>
              <a:t></a:t>
            </a:r>
            <a:endParaRPr lang="en-US" dirty="0"/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36036174"/>
              </p:ext>
            </p:extLst>
          </p:nvPr>
        </p:nvGraphicFramePr>
        <p:xfrm>
          <a:off x="1233488" y="2109787"/>
          <a:ext cx="6599237" cy="3148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Image" r:id="rId3" imgW="7731267" imgH="3689143" progId="Photoshop.Image.7">
                  <p:embed/>
                </p:oleObj>
              </mc:Choice>
              <mc:Fallback>
                <p:oleObj name="Image" r:id="rId3" imgW="7731267" imgH="3689143" progId="Photoshop.Image.7">
                  <p:embed/>
                  <p:pic>
                    <p:nvPicPr>
                      <p:cNvPr id="5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33488" y="2109787"/>
                        <a:ext cx="6599237" cy="3148013"/>
                      </a:xfrm>
                      <a:prstGeom prst="rect">
                        <a:avLst/>
                      </a:prstGeom>
                      <a:noFill/>
                      <a:ln w="25400">
                        <a:solidFill>
                          <a:schemeClr val="bg1">
                            <a:lumMod val="65000"/>
                          </a:schemeClr>
                        </a:solidFill>
                        <a:miter lim="800000"/>
                        <a:headEnd/>
                        <a:tailEnd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6"/>
          <p:cNvSpPr>
            <a:spLocks noChangeArrowheads="1"/>
          </p:cNvSpPr>
          <p:nvPr/>
        </p:nvSpPr>
        <p:spPr bwMode="auto">
          <a:xfrm>
            <a:off x="873125" y="5389602"/>
            <a:ext cx="739775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600"/>
              </a:spcAft>
              <a:buClr>
                <a:srgbClr val="003366"/>
              </a:buClr>
              <a:buSzPct val="90000"/>
            </a:pPr>
            <a:r>
              <a:rPr lang="en-US" b="1" dirty="0">
                <a:latin typeface="Calibri" pitchFamily="34" charset="0"/>
                <a:sym typeface="Wingdings" pitchFamily="2" charset="2"/>
              </a:rPr>
              <a:t>Hb AE (hemoglobin E trait): thalassemia minor-like syndrom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3C92ACB-A2BF-4437-8053-6588F49A1450}"/>
              </a:ext>
            </a:extLst>
          </p:cNvPr>
          <p:cNvGrpSpPr/>
          <p:nvPr/>
        </p:nvGrpSpPr>
        <p:grpSpPr>
          <a:xfrm>
            <a:off x="1638300" y="5638800"/>
            <a:ext cx="5867400" cy="795754"/>
            <a:chOff x="1638300" y="5638800"/>
            <a:chExt cx="5867400" cy="795754"/>
          </a:xfrm>
        </p:grpSpPr>
        <p:sp>
          <p:nvSpPr>
            <p:cNvPr id="7" name="Rectangle 6"/>
            <p:cNvSpPr/>
            <p:nvPr/>
          </p:nvSpPr>
          <p:spPr>
            <a:xfrm>
              <a:off x="1638300" y="5638800"/>
              <a:ext cx="586740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4625" indent="-285750" algn="ctr">
                <a:buClr>
                  <a:schemeClr val="bg1">
                    <a:lumMod val="65000"/>
                  </a:schemeClr>
                </a:buClr>
                <a:buSzPct val="90000"/>
                <a:buFont typeface="Arial" panose="020B0604020202020204" pitchFamily="34" charset="0"/>
                <a:buChar char="•"/>
              </a:pPr>
              <a:r>
                <a:rPr lang="en-US" i="1" dirty="0">
                  <a:latin typeface="Calibri" pitchFamily="34" charset="0"/>
                </a:rPr>
                <a:t>Hb EE: microcytosis +/- mild anemia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51A3CD9-B15A-4C61-A048-71C953209F3F}"/>
                </a:ext>
              </a:extLst>
            </p:cNvPr>
            <p:cNvSpPr/>
            <p:nvPr/>
          </p:nvSpPr>
          <p:spPr>
            <a:xfrm>
              <a:off x="3506035" y="6096000"/>
              <a:ext cx="2131930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fontAlgn="base">
                <a:spcBef>
                  <a:spcPct val="0"/>
                </a:spcBef>
                <a:buClr>
                  <a:srgbClr val="003366"/>
                </a:buClr>
                <a:buSzPct val="90000"/>
              </a:pPr>
              <a:r>
                <a:rPr lang="en-US" sz="16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</a:rPr>
                <a:t>Hb E (</a:t>
              </a:r>
              <a:r>
                <a:rPr lang="en-US" sz="16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sym typeface="Symbol" pitchFamily="18" charset="2"/>
                </a:rPr>
                <a:t>  26 Glu</a:t>
              </a:r>
              <a:r>
                <a:rPr lang="en-US" sz="1600" b="1" i="1" baseline="30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sym typeface="Symbol" pitchFamily="18" charset="2"/>
                </a:rPr>
                <a:t>–</a:t>
              </a:r>
              <a:r>
                <a:rPr lang="en-US" sz="16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sym typeface="Wingdings" pitchFamily="2" charset="2"/>
                </a:rPr>
                <a:t> Lys</a:t>
              </a:r>
              <a:r>
                <a:rPr lang="en-US" sz="1600" b="1" i="1" baseline="30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sym typeface="Wingdings" pitchFamily="2" charset="2"/>
                </a:rPr>
                <a:t>+</a:t>
              </a:r>
              <a:r>
                <a:rPr lang="en-US" sz="16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sym typeface="Wingdings" pitchFamily="2" charset="2"/>
                </a:rPr>
                <a:t>)</a:t>
              </a:r>
              <a:endPara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841040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utoUpdateAnimBg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moglobin disorders (hemoglobinopathies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0040" y="1447800"/>
            <a:ext cx="8503920" cy="4572000"/>
          </a:xfrm>
        </p:spPr>
        <p:txBody>
          <a:bodyPr/>
          <a:lstStyle/>
          <a:p>
            <a:r>
              <a:rPr lang="en-US" dirty="0"/>
              <a:t>Highly prevalent in malaria-endemic regions</a:t>
            </a:r>
          </a:p>
          <a:p>
            <a:pPr lvl="1"/>
            <a:r>
              <a:rPr lang="en-US" dirty="0"/>
              <a:t>7% of world population estimated to be genetic carrie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123D6-A26F-48C4-B68B-48002B28495B}" type="slidenum">
              <a:rPr lang="en-US" smtClean="0"/>
              <a:pPr/>
              <a:t>3</a:t>
            </a:fld>
            <a:r>
              <a:rPr lang="en-US"/>
              <a:t> </a:t>
            </a:r>
            <a:r>
              <a:rPr lang="en-US">
                <a:sym typeface="Symbol"/>
              </a:rPr>
              <a:t></a:t>
            </a:r>
            <a:endParaRPr lang="en-US" dirty="0"/>
          </a:p>
        </p:txBody>
      </p:sp>
      <p:pic>
        <p:nvPicPr>
          <p:cNvPr id="18434" name="Picture 2" descr="https://upload.wikimedia.org/wikipedia/commons/thumb/2/26/Red_Blood_Cell_abnormalities.png/1024px-Red_Blood_Cell_abnormalities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89"/>
          <a:stretch/>
        </p:blipFill>
        <p:spPr bwMode="auto">
          <a:xfrm>
            <a:off x="1600200" y="2447713"/>
            <a:ext cx="5943600" cy="3419687"/>
          </a:xfrm>
          <a:prstGeom prst="rect">
            <a:avLst/>
          </a:prstGeom>
          <a:noFill/>
          <a:ln w="25400">
            <a:solidFill>
              <a:schemeClr val="bg1">
                <a:lumMod val="6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2324100" y="5943600"/>
            <a:ext cx="44958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 dirty="0"/>
              <a:t>https://en.wikipedia.org/wiki/Genetic_resistance_to_malaria#/media/File:Red_Blood_Cell_abnormalities.png</a:t>
            </a:r>
          </a:p>
        </p:txBody>
      </p:sp>
    </p:spTree>
    <p:extLst>
      <p:ext uri="{BB962C8B-B14F-4D97-AF65-F5344CB8AC3E}">
        <p14:creationId xmlns:p14="http://schemas.microsoft.com/office/powerpoint/2010/main" val="48567073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oratory review: major hemoglobin variant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3782" y="1981200"/>
            <a:ext cx="5336437" cy="3733800"/>
          </a:xfrm>
          <a:ln w="25400">
            <a:solidFill>
              <a:schemeClr val="bg1">
                <a:lumMod val="65000"/>
              </a:schemeClr>
            </a:solidFill>
          </a:ln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123D6-A26F-48C4-B68B-48002B28495B}" type="slidenum">
              <a:rPr lang="en-US" smtClean="0"/>
              <a:pPr/>
              <a:t>30</a:t>
            </a:fld>
            <a:r>
              <a:rPr lang="en-US" dirty="0"/>
              <a:t> </a:t>
            </a:r>
            <a:r>
              <a:rPr lang="en-US" dirty="0">
                <a:sym typeface="Symbol"/>
              </a:rPr>
              <a:t>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438400" y="6093023"/>
            <a:ext cx="42672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ttp://www.sebia-usa.com/products/capillarys.html</a:t>
            </a:r>
          </a:p>
        </p:txBody>
      </p:sp>
      <p:sp>
        <p:nvSpPr>
          <p:cNvPr id="7" name="Text Box 9"/>
          <p:cNvSpPr txBox="1">
            <a:spLocks noChangeArrowheads="1"/>
          </p:cNvSpPr>
          <p:nvPr/>
        </p:nvSpPr>
        <p:spPr bwMode="auto">
          <a:xfrm>
            <a:off x="1364904" y="5742801"/>
            <a:ext cx="641419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74320" lvl="1" indent="0" eaLnBrk="1" hangingPunct="1">
              <a:buClr>
                <a:schemeClr val="bg1">
                  <a:lumMod val="65000"/>
                </a:schemeClr>
              </a:buClr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Greater separation of Hb A2 and Hb E by capillary electrophoresis</a:t>
            </a:r>
          </a:p>
        </p:txBody>
      </p: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5029200" y="2230145"/>
            <a:ext cx="16764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sz="1800" b="1" dirty="0">
                <a:solidFill>
                  <a:schemeClr val="bg1"/>
                </a:solidFill>
                <a:latin typeface="Calibri" pitchFamily="34" charset="0"/>
              </a:rPr>
              <a:t>Capillary electrophoresi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BBB61E7-7143-438B-B093-7CACC27ABD55}"/>
              </a:ext>
            </a:extLst>
          </p:cNvPr>
          <p:cNvSpPr txBox="1">
            <a:spLocks/>
          </p:cNvSpPr>
          <p:nvPr/>
        </p:nvSpPr>
        <p:spPr>
          <a:xfrm>
            <a:off x="320040" y="1447800"/>
            <a:ext cx="8503920" cy="4572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ts val="1200"/>
              </a:spcBef>
              <a:buClr>
                <a:schemeClr val="accent3">
                  <a:lumMod val="75000"/>
                </a:schemeClr>
              </a:buClr>
              <a:buFont typeface="Arial" pitchFamily="34" charset="0"/>
              <a:buChar char="•"/>
              <a:defRPr sz="2400" b="1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bg1">
                  <a:lumMod val="65000"/>
                </a:schemeClr>
              </a:buClr>
              <a:buFont typeface="Arial" pitchFamily="34" charset="0"/>
              <a:buChar char="•"/>
              <a:defRPr sz="20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65000"/>
                </a:schemeClr>
              </a:buClr>
              <a:buFont typeface="Arial" pitchFamily="34" charset="0"/>
              <a:buChar char="•"/>
              <a:defRPr sz="20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65000"/>
                </a:schemeClr>
              </a:buClr>
              <a:buFont typeface="Arial" pitchFamily="34" charset="0"/>
              <a:buChar char="•"/>
              <a:defRPr sz="20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65000"/>
                </a:schemeClr>
              </a:buClr>
              <a:buFont typeface="Arial" pitchFamily="34" charset="0"/>
              <a:buChar char="•"/>
              <a:defRPr sz="20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Hb AE (hemoglobin E trait)</a:t>
            </a:r>
          </a:p>
        </p:txBody>
      </p:sp>
    </p:spTree>
    <p:extLst>
      <p:ext uri="{BB962C8B-B14F-4D97-AF65-F5344CB8AC3E}">
        <p14:creationId xmlns:p14="http://schemas.microsoft.com/office/powerpoint/2010/main" val="324186457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40E0D9-3FCE-4184-922F-5CECF152AC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oratory review: other common varian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C3CD8D-36B4-4647-BA76-3B94C56185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123D6-A26F-48C4-B68B-48002B28495B}" type="slidenum">
              <a:rPr lang="en-US" smtClean="0"/>
              <a:pPr/>
              <a:t>31</a:t>
            </a:fld>
            <a:r>
              <a:rPr lang="en-US"/>
              <a:t> </a:t>
            </a:r>
            <a:r>
              <a:rPr lang="en-US">
                <a:sym typeface="Symbol"/>
              </a:rPr>
              <a:t></a:t>
            </a:r>
            <a:endParaRPr lang="en-US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07729D7-697F-4285-87BC-DDE26F2398B0}"/>
              </a:ext>
            </a:extLst>
          </p:cNvPr>
          <p:cNvGrpSpPr>
            <a:grpSpLocks noChangeAspect="1"/>
          </p:cNvGrpSpPr>
          <p:nvPr/>
        </p:nvGrpSpPr>
        <p:grpSpPr>
          <a:xfrm>
            <a:off x="6488069" y="1714500"/>
            <a:ext cx="2019978" cy="3657600"/>
            <a:chOff x="6666460" y="1776552"/>
            <a:chExt cx="2217162" cy="4014648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E51E57A1-9C3C-4A29-AFA2-86B3BE7889FC}"/>
                </a:ext>
              </a:extLst>
            </p:cNvPr>
            <p:cNvGrpSpPr/>
            <p:nvPr/>
          </p:nvGrpSpPr>
          <p:grpSpPr>
            <a:xfrm>
              <a:off x="6666460" y="1776552"/>
              <a:ext cx="2217162" cy="4014648"/>
              <a:chOff x="6666460" y="1624152"/>
              <a:chExt cx="2217162" cy="4014648"/>
            </a:xfrm>
          </p:grpSpPr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82B8A556-8AC5-49F5-A175-9A24E7BA82D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t="2332" r="7933" b="27324"/>
              <a:stretch/>
            </p:blipFill>
            <p:spPr>
              <a:xfrm>
                <a:off x="6840620" y="2286000"/>
                <a:ext cx="1419098" cy="1752600"/>
              </a:xfrm>
              <a:prstGeom prst="rect">
                <a:avLst/>
              </a:prstGeom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854F0F33-1FB9-4E90-8289-2C7D0A97815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5291" r="6304"/>
              <a:stretch/>
            </p:blipFill>
            <p:spPr>
              <a:xfrm>
                <a:off x="7086600" y="4896581"/>
                <a:ext cx="1351435" cy="742219"/>
              </a:xfrm>
              <a:prstGeom prst="rect">
                <a:avLst/>
              </a:prstGeom>
            </p:spPr>
          </p:pic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1D323887-22B5-438C-AD97-193586E6463F}"/>
                  </a:ext>
                </a:extLst>
              </p:cNvPr>
              <p:cNvSpPr txBox="1"/>
              <p:nvPr/>
            </p:nvSpPr>
            <p:spPr>
              <a:xfrm>
                <a:off x="6666460" y="1624152"/>
                <a:ext cx="2217162" cy="776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b="1" dirty="0"/>
                  <a:t>Cellulose Acetate</a:t>
                </a:r>
              </a:p>
              <a:p>
                <a:r>
                  <a:rPr lang="en-US" sz="2000" b="1" dirty="0"/>
                  <a:t>     A F  S     C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4D199090-BD1B-4E1E-B00F-52C9A4252F0F}"/>
                  </a:ext>
                </a:extLst>
              </p:cNvPr>
              <p:cNvSpPr txBox="1"/>
              <p:nvPr/>
            </p:nvSpPr>
            <p:spPr>
              <a:xfrm>
                <a:off x="6914861" y="4168914"/>
                <a:ext cx="1523174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b="1" dirty="0"/>
                  <a:t>Citrate Agar</a:t>
                </a:r>
              </a:p>
              <a:p>
                <a:r>
                  <a:rPr lang="en-US" sz="2000" b="1" dirty="0"/>
                  <a:t>   F    A   S    C</a:t>
                </a:r>
              </a:p>
            </p:txBody>
          </p:sp>
        </p:grpSp>
        <p:sp>
          <p:nvSpPr>
            <p:cNvPr id="15" name="Star: 5 Points 14">
              <a:extLst>
                <a:ext uri="{FF2B5EF4-FFF2-40B4-BE49-F238E27FC236}">
                  <a16:creationId xmlns:a16="http://schemas.microsoft.com/office/drawing/2014/main" id="{076C0296-248F-42B5-897A-22E0F08FA953}"/>
                </a:ext>
              </a:extLst>
            </p:cNvPr>
            <p:cNvSpPr/>
            <p:nvPr/>
          </p:nvSpPr>
          <p:spPr>
            <a:xfrm>
              <a:off x="8321040" y="2362200"/>
              <a:ext cx="365760" cy="365760"/>
            </a:xfrm>
            <a:prstGeom prst="star5">
              <a:avLst/>
            </a:prstGeom>
            <a:solidFill>
              <a:schemeClr val="accent2"/>
            </a:solidFill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Star: 5 Points 15">
              <a:extLst>
                <a:ext uri="{FF2B5EF4-FFF2-40B4-BE49-F238E27FC236}">
                  <a16:creationId xmlns:a16="http://schemas.microsoft.com/office/drawing/2014/main" id="{E7D1802B-2804-4E85-AEFE-A5805BF72DB1}"/>
                </a:ext>
              </a:extLst>
            </p:cNvPr>
            <p:cNvSpPr/>
            <p:nvPr/>
          </p:nvSpPr>
          <p:spPr>
            <a:xfrm>
              <a:off x="6705600" y="5425440"/>
              <a:ext cx="365760" cy="365760"/>
            </a:xfrm>
            <a:prstGeom prst="star5">
              <a:avLst/>
            </a:prstGeom>
            <a:solidFill>
              <a:schemeClr val="accent2"/>
            </a:solidFill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79A3BA63-64C8-4675-BA4C-C94FEAA6EA8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lum contrast="20000"/>
          </a:blip>
          <a:srcRect t="5023" r="8422" b="4562"/>
          <a:stretch/>
        </p:blipFill>
        <p:spPr>
          <a:xfrm rot="16013353">
            <a:off x="-144371" y="2933436"/>
            <a:ext cx="3218766" cy="165812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C8EC94C-E8FE-4EF4-8924-D30ED9E27A7C}"/>
              </a:ext>
            </a:extLst>
          </p:cNvPr>
          <p:cNvSpPr txBox="1"/>
          <p:nvPr/>
        </p:nvSpPr>
        <p:spPr>
          <a:xfrm>
            <a:off x="1019404" y="1714500"/>
            <a:ext cx="692471" cy="38218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HPLC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0B4C9A2-A236-447A-993F-103370F568DD}"/>
              </a:ext>
            </a:extLst>
          </p:cNvPr>
          <p:cNvSpPr txBox="1"/>
          <p:nvPr/>
        </p:nvSpPr>
        <p:spPr>
          <a:xfrm>
            <a:off x="655470" y="2224008"/>
            <a:ext cx="666379" cy="38218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b="1" dirty="0"/>
              <a:t>Hb A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C26CE23-F6CD-4185-B2DA-3F8853DCD8B3}"/>
              </a:ext>
            </a:extLst>
          </p:cNvPr>
          <p:cNvSpPr txBox="1"/>
          <p:nvPr/>
        </p:nvSpPr>
        <p:spPr>
          <a:xfrm>
            <a:off x="1975883" y="4610100"/>
            <a:ext cx="790407" cy="38218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b="1" dirty="0"/>
              <a:t>Hb A2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D79357D-C931-4B22-8203-8B4D63F09C04}"/>
              </a:ext>
            </a:extLst>
          </p:cNvPr>
          <p:cNvGrpSpPr/>
          <p:nvPr/>
        </p:nvGrpSpPr>
        <p:grpSpPr>
          <a:xfrm>
            <a:off x="2864213" y="1714500"/>
            <a:ext cx="2989109" cy="3657600"/>
            <a:chOff x="3352800" y="2133600"/>
            <a:chExt cx="3051382" cy="373380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D85AF55E-A2F0-47EB-A50C-FAE1312A2E8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lum/>
            </a:blip>
            <a:stretch>
              <a:fillRect/>
            </a:stretch>
          </p:blipFill>
          <p:spPr>
            <a:xfrm rot="21399971">
              <a:off x="3449525" y="2480932"/>
              <a:ext cx="2866507" cy="3380368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4719A15-492C-4C99-AAF8-D8F9AB2AF6AE}"/>
                </a:ext>
              </a:extLst>
            </p:cNvPr>
            <p:cNvSpPr txBox="1"/>
            <p:nvPr/>
          </p:nvSpPr>
          <p:spPr>
            <a:xfrm>
              <a:off x="3593861" y="2133600"/>
              <a:ext cx="281032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/>
                <a:t>Capillary Electrophoresis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FC38D98-02F2-4945-8311-5123D58D2247}"/>
                </a:ext>
              </a:extLst>
            </p:cNvPr>
            <p:cNvSpPr/>
            <p:nvPr/>
          </p:nvSpPr>
          <p:spPr>
            <a:xfrm>
              <a:off x="3353660" y="2533710"/>
              <a:ext cx="3050522" cy="2668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B1488D2-003A-4ECE-B330-5CE0E4202056}"/>
                </a:ext>
              </a:extLst>
            </p:cNvPr>
            <p:cNvSpPr/>
            <p:nvPr/>
          </p:nvSpPr>
          <p:spPr>
            <a:xfrm>
              <a:off x="3352800" y="5600556"/>
              <a:ext cx="3050522" cy="2668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E1726639-5468-4FBD-BCCE-6BC8478BB4EC}"/>
              </a:ext>
            </a:extLst>
          </p:cNvPr>
          <p:cNvSpPr txBox="1"/>
          <p:nvPr/>
        </p:nvSpPr>
        <p:spPr>
          <a:xfrm>
            <a:off x="3610662" y="2367584"/>
            <a:ext cx="683390" cy="39194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b="1" dirty="0"/>
              <a:t>Hb 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C7251E6-858A-4700-857F-4419D74079F0}"/>
              </a:ext>
            </a:extLst>
          </p:cNvPr>
          <p:cNvSpPr txBox="1"/>
          <p:nvPr/>
        </p:nvSpPr>
        <p:spPr>
          <a:xfrm>
            <a:off x="5039425" y="4457641"/>
            <a:ext cx="810584" cy="39194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b="1" dirty="0"/>
              <a:t>Hb A2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E18D9043-805B-4480-93F7-D2AE9313FFFF}"/>
              </a:ext>
            </a:extLst>
          </p:cNvPr>
          <p:cNvCxnSpPr>
            <a:cxnSpLocks/>
          </p:cNvCxnSpPr>
          <p:nvPr/>
        </p:nvCxnSpPr>
        <p:spPr>
          <a:xfrm flipH="1">
            <a:off x="1845820" y="4975860"/>
            <a:ext cx="274320" cy="91440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66A47EA6-1F44-4339-94CC-24CAD278C4B7}"/>
              </a:ext>
            </a:extLst>
          </p:cNvPr>
          <p:cNvSpPr/>
          <p:nvPr/>
        </p:nvSpPr>
        <p:spPr>
          <a:xfrm>
            <a:off x="388620" y="1524000"/>
            <a:ext cx="8366760" cy="4038600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100C17F-DF19-4431-8B2B-C1C048838AAE}"/>
              </a:ext>
            </a:extLst>
          </p:cNvPr>
          <p:cNvGrpSpPr/>
          <p:nvPr/>
        </p:nvGrpSpPr>
        <p:grpSpPr>
          <a:xfrm>
            <a:off x="1518632" y="2224008"/>
            <a:ext cx="6106736" cy="3891102"/>
            <a:chOff x="1518632" y="2224008"/>
            <a:chExt cx="6106736" cy="3891102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4B13FB65-7C9A-4A27-81D4-EE411DE2D0B8}"/>
                </a:ext>
              </a:extLst>
            </p:cNvPr>
            <p:cNvSpPr txBox="1"/>
            <p:nvPr/>
          </p:nvSpPr>
          <p:spPr>
            <a:xfrm>
              <a:off x="1965634" y="2224008"/>
              <a:ext cx="704039" cy="40011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solidFill>
                    <a:srgbClr val="C00000"/>
                  </a:solidFill>
                </a:rPr>
                <a:t>Hb D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CA0C2D73-6B96-4899-B31D-BED8C982EA4D}"/>
                </a:ext>
              </a:extLst>
            </p:cNvPr>
            <p:cNvSpPr txBox="1"/>
            <p:nvPr/>
          </p:nvSpPr>
          <p:spPr>
            <a:xfrm>
              <a:off x="4954270" y="2367584"/>
              <a:ext cx="704039" cy="40011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solidFill>
                    <a:srgbClr val="C00000"/>
                  </a:solidFill>
                </a:rPr>
                <a:t>Hb D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9C9C1794-4931-4FFF-8704-E37AA0002BF6}"/>
                </a:ext>
              </a:extLst>
            </p:cNvPr>
            <p:cNvSpPr txBox="1"/>
            <p:nvPr/>
          </p:nvSpPr>
          <p:spPr>
            <a:xfrm>
              <a:off x="1518632" y="5715000"/>
              <a:ext cx="610673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/>
                <a:t>Hb AD (Hemoglobin D-Los Angeles trait): clinically silent</a:t>
              </a:r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E69013FC-78B8-4F86-BECA-6F2CF3733AD9}"/>
              </a:ext>
            </a:extLst>
          </p:cNvPr>
          <p:cNvSpPr/>
          <p:nvPr/>
        </p:nvSpPr>
        <p:spPr>
          <a:xfrm>
            <a:off x="3444128" y="6200358"/>
            <a:ext cx="22557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fontAlgn="base">
              <a:spcBef>
                <a:spcPct val="0"/>
              </a:spcBef>
              <a:buClr>
                <a:srgbClr val="003366"/>
              </a:buClr>
              <a:buSzPct val="90000"/>
            </a:pPr>
            <a:r>
              <a: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Hb D (</a:t>
            </a:r>
            <a:r>
              <a: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sym typeface="Symbol" pitchFamily="18" charset="2"/>
              </a:rPr>
              <a:t> 121 Glu</a:t>
            </a:r>
            <a:r>
              <a:rPr lang="en-US" sz="1600" b="1" i="1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sym typeface="Symbol" pitchFamily="18" charset="2"/>
              </a:rPr>
              <a:t>–</a:t>
            </a:r>
            <a:r>
              <a: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sym typeface="Wingdings" pitchFamily="2" charset="2"/>
              </a:rPr>
              <a:t> Gln</a:t>
            </a:r>
            <a:r>
              <a:rPr lang="en-US" sz="1600" b="1" i="1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sym typeface="Wingdings" pitchFamily="2" charset="2"/>
              </a:rPr>
              <a:t>0</a:t>
            </a:r>
            <a:r>
              <a: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sym typeface="Wingdings" pitchFamily="2" charset="2"/>
              </a:rPr>
              <a:t>)</a:t>
            </a:r>
            <a:endParaRPr lang="en-US" sz="1600" b="1" i="1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1BF83D1E-5450-41C2-84CC-75210BE61DBC}"/>
              </a:ext>
            </a:extLst>
          </p:cNvPr>
          <p:cNvCxnSpPr>
            <a:cxnSpLocks/>
          </p:cNvCxnSpPr>
          <p:nvPr/>
        </p:nvCxnSpPr>
        <p:spPr>
          <a:xfrm flipH="1">
            <a:off x="1998220" y="2590800"/>
            <a:ext cx="274320" cy="91440"/>
          </a:xfrm>
          <a:prstGeom prst="straightConnector1">
            <a:avLst/>
          </a:prstGeom>
          <a:ln w="317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EFAADF5A-79C3-4446-AFCD-4FD73A63A30E}"/>
              </a:ext>
            </a:extLst>
          </p:cNvPr>
          <p:cNvCxnSpPr>
            <a:cxnSpLocks/>
          </p:cNvCxnSpPr>
          <p:nvPr/>
        </p:nvCxnSpPr>
        <p:spPr>
          <a:xfrm flipH="1">
            <a:off x="5059680" y="2743200"/>
            <a:ext cx="274320" cy="91440"/>
          </a:xfrm>
          <a:prstGeom prst="straightConnector1">
            <a:avLst/>
          </a:prstGeom>
          <a:ln w="317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21917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45">
            <a:extLst>
              <a:ext uri="{FF2B5EF4-FFF2-40B4-BE49-F238E27FC236}">
                <a16:creationId xmlns:a16="http://schemas.microsoft.com/office/drawing/2014/main" id="{8473F672-1FB9-4828-9D67-E3BA79B046EB}"/>
              </a:ext>
            </a:extLst>
          </p:cNvPr>
          <p:cNvPicPr>
            <a:picLocks/>
          </p:cNvPicPr>
          <p:nvPr/>
        </p:nvPicPr>
        <p:blipFill rotWithShape="1">
          <a:blip r:embed="rId2"/>
          <a:srcRect l="9549" r="7532"/>
          <a:stretch/>
        </p:blipFill>
        <p:spPr>
          <a:xfrm>
            <a:off x="6858000" y="4524511"/>
            <a:ext cx="1280160" cy="885689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0AA43008-144E-49A3-B9FC-6695AE673DB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32608"/>
          <a:stretch/>
        </p:blipFill>
        <p:spPr>
          <a:xfrm rot="21403176">
            <a:off x="6284273" y="2454737"/>
            <a:ext cx="2072057" cy="131314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7922AFF1-0FA6-43E1-B6C3-0965714447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78008" y="2240280"/>
            <a:ext cx="2309456" cy="301752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971A952-82F0-4C3F-A5A1-37B67ED628A1}"/>
              </a:ext>
            </a:extLst>
          </p:cNvPr>
          <p:cNvPicPr>
            <a:picLocks/>
          </p:cNvPicPr>
          <p:nvPr/>
        </p:nvPicPr>
        <p:blipFill rotWithShape="1">
          <a:blip r:embed="rId5">
            <a:lum bright="-20000" contrast="20000"/>
          </a:blip>
          <a:srcRect r="8592"/>
          <a:stretch/>
        </p:blipFill>
        <p:spPr>
          <a:xfrm rot="5400000" flipH="1" flipV="1">
            <a:off x="-106680" y="3086894"/>
            <a:ext cx="3108960" cy="13716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A40E0D9-3FCE-4184-922F-5CECF152AC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oratory review: other common varian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C3CD8D-36B4-4647-BA76-3B94C56185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123D6-A26F-48C4-B68B-48002B28495B}" type="slidenum">
              <a:rPr lang="en-US" smtClean="0"/>
              <a:pPr/>
              <a:t>32</a:t>
            </a:fld>
            <a:r>
              <a:rPr lang="en-US" dirty="0"/>
              <a:t> </a:t>
            </a:r>
            <a:r>
              <a:rPr lang="en-US" dirty="0">
                <a:sym typeface="Symbol"/>
              </a:rPr>
              <a:t></a:t>
            </a:r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51E57A1-9C3C-4A29-AFA2-86B3BE7889FC}"/>
              </a:ext>
            </a:extLst>
          </p:cNvPr>
          <p:cNvGrpSpPr/>
          <p:nvPr/>
        </p:nvGrpSpPr>
        <p:grpSpPr>
          <a:xfrm>
            <a:off x="6488069" y="1714500"/>
            <a:ext cx="2019978" cy="2879588"/>
            <a:chOff x="6666460" y="1624152"/>
            <a:chExt cx="2217162" cy="3160687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D323887-22B5-438C-AD97-193586E6463F}"/>
                </a:ext>
              </a:extLst>
            </p:cNvPr>
            <p:cNvSpPr txBox="1"/>
            <p:nvPr/>
          </p:nvSpPr>
          <p:spPr>
            <a:xfrm>
              <a:off x="6666460" y="1624152"/>
              <a:ext cx="2217162" cy="7769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/>
                <a:t>Cellulose Acetate</a:t>
              </a:r>
            </a:p>
            <a:p>
              <a:r>
                <a:rPr lang="en-US" sz="2000" b="1" dirty="0"/>
                <a:t>     A F  S     C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D199090-BD1B-4E1E-B00F-52C9A4252F0F}"/>
                </a:ext>
              </a:extLst>
            </p:cNvPr>
            <p:cNvSpPr txBox="1"/>
            <p:nvPr/>
          </p:nvSpPr>
          <p:spPr>
            <a:xfrm>
              <a:off x="6914861" y="4007851"/>
              <a:ext cx="1608520" cy="7769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/>
                <a:t>Citrate Agar</a:t>
              </a:r>
            </a:p>
            <a:p>
              <a:r>
                <a:rPr lang="en-US" sz="2000" b="1" dirty="0"/>
                <a:t>   F       A S  C</a:t>
              </a:r>
            </a:p>
          </p:txBody>
        </p:sp>
      </p:grpSp>
      <p:sp>
        <p:nvSpPr>
          <p:cNvPr id="15" name="Star: 5 Points 14">
            <a:extLst>
              <a:ext uri="{FF2B5EF4-FFF2-40B4-BE49-F238E27FC236}">
                <a16:creationId xmlns:a16="http://schemas.microsoft.com/office/drawing/2014/main" id="{076C0296-248F-42B5-897A-22E0F08FA953}"/>
              </a:ext>
            </a:extLst>
          </p:cNvPr>
          <p:cNvSpPr/>
          <p:nvPr/>
        </p:nvSpPr>
        <p:spPr>
          <a:xfrm>
            <a:off x="7995498" y="2562369"/>
            <a:ext cx="333231" cy="333231"/>
          </a:xfrm>
          <a:prstGeom prst="star5">
            <a:avLst/>
          </a:prstGeom>
          <a:solidFill>
            <a:schemeClr val="accent2"/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Star: 5 Points 15">
            <a:extLst>
              <a:ext uri="{FF2B5EF4-FFF2-40B4-BE49-F238E27FC236}">
                <a16:creationId xmlns:a16="http://schemas.microsoft.com/office/drawing/2014/main" id="{E7D1802B-2804-4E85-AEFE-A5805BF72DB1}"/>
              </a:ext>
            </a:extLst>
          </p:cNvPr>
          <p:cNvSpPr/>
          <p:nvPr/>
        </p:nvSpPr>
        <p:spPr>
          <a:xfrm>
            <a:off x="6523728" y="4467369"/>
            <a:ext cx="333231" cy="333231"/>
          </a:xfrm>
          <a:prstGeom prst="star5">
            <a:avLst/>
          </a:prstGeom>
          <a:solidFill>
            <a:schemeClr val="accent2"/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8EC94C-E8FE-4EF4-8924-D30ED9E27A7C}"/>
              </a:ext>
            </a:extLst>
          </p:cNvPr>
          <p:cNvSpPr txBox="1"/>
          <p:nvPr/>
        </p:nvSpPr>
        <p:spPr>
          <a:xfrm>
            <a:off x="1019405" y="1714500"/>
            <a:ext cx="692471" cy="38218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HPLC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0B4C9A2-A236-447A-993F-103370F568DD}"/>
              </a:ext>
            </a:extLst>
          </p:cNvPr>
          <p:cNvSpPr txBox="1"/>
          <p:nvPr/>
        </p:nvSpPr>
        <p:spPr>
          <a:xfrm>
            <a:off x="933821" y="2513411"/>
            <a:ext cx="666379" cy="38218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b="1" dirty="0"/>
              <a:t>Hb A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D79357D-C931-4B22-8203-8B4D63F09C04}"/>
              </a:ext>
            </a:extLst>
          </p:cNvPr>
          <p:cNvGrpSpPr/>
          <p:nvPr/>
        </p:nvGrpSpPr>
        <p:grpSpPr>
          <a:xfrm>
            <a:off x="2864213" y="1714500"/>
            <a:ext cx="2989109" cy="3657600"/>
            <a:chOff x="3352800" y="2133600"/>
            <a:chExt cx="3051382" cy="3733800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4719A15-492C-4C99-AAF8-D8F9AB2AF6AE}"/>
                </a:ext>
              </a:extLst>
            </p:cNvPr>
            <p:cNvSpPr txBox="1"/>
            <p:nvPr/>
          </p:nvSpPr>
          <p:spPr>
            <a:xfrm>
              <a:off x="3593861" y="2133600"/>
              <a:ext cx="281032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/>
                <a:t>Capillary Electrophoresis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FC38D98-02F2-4945-8311-5123D58D2247}"/>
                </a:ext>
              </a:extLst>
            </p:cNvPr>
            <p:cNvSpPr/>
            <p:nvPr/>
          </p:nvSpPr>
          <p:spPr>
            <a:xfrm>
              <a:off x="3353660" y="2533710"/>
              <a:ext cx="3050522" cy="2668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B1488D2-003A-4ECE-B330-5CE0E4202056}"/>
                </a:ext>
              </a:extLst>
            </p:cNvPr>
            <p:cNvSpPr/>
            <p:nvPr/>
          </p:nvSpPr>
          <p:spPr>
            <a:xfrm>
              <a:off x="3352800" y="5600556"/>
              <a:ext cx="3050522" cy="2668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9C7251E6-858A-4700-857F-4419D74079F0}"/>
              </a:ext>
            </a:extLst>
          </p:cNvPr>
          <p:cNvSpPr txBox="1"/>
          <p:nvPr/>
        </p:nvSpPr>
        <p:spPr>
          <a:xfrm>
            <a:off x="5039425" y="4038600"/>
            <a:ext cx="810584" cy="39194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b="1" dirty="0"/>
              <a:t>Hb A2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6A47EA6-1F44-4339-94CC-24CAD278C4B7}"/>
              </a:ext>
            </a:extLst>
          </p:cNvPr>
          <p:cNvSpPr/>
          <p:nvPr/>
        </p:nvSpPr>
        <p:spPr>
          <a:xfrm>
            <a:off x="388620" y="1524000"/>
            <a:ext cx="8366760" cy="4038600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39D99C8-AA18-40AE-82D5-9AAFCC1A79E0}"/>
              </a:ext>
            </a:extLst>
          </p:cNvPr>
          <p:cNvSpPr/>
          <p:nvPr/>
        </p:nvSpPr>
        <p:spPr>
          <a:xfrm>
            <a:off x="3384869" y="2495146"/>
            <a:ext cx="69762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/>
              <a:t>Hb A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E1EF624B-912E-4D1E-B282-1C5C540E03ED}"/>
              </a:ext>
            </a:extLst>
          </p:cNvPr>
          <p:cNvCxnSpPr>
            <a:cxnSpLocks/>
          </p:cNvCxnSpPr>
          <p:nvPr/>
        </p:nvCxnSpPr>
        <p:spPr>
          <a:xfrm flipH="1">
            <a:off x="4953000" y="4396254"/>
            <a:ext cx="289560" cy="453050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oup 48">
            <a:extLst>
              <a:ext uri="{FF2B5EF4-FFF2-40B4-BE49-F238E27FC236}">
                <a16:creationId xmlns:a16="http://schemas.microsoft.com/office/drawing/2014/main" id="{3D395F6F-CE77-4B5A-86B3-E16A7149B8F1}"/>
              </a:ext>
            </a:extLst>
          </p:cNvPr>
          <p:cNvGrpSpPr/>
          <p:nvPr/>
        </p:nvGrpSpPr>
        <p:grpSpPr>
          <a:xfrm>
            <a:off x="1479583" y="2495146"/>
            <a:ext cx="6184835" cy="3619964"/>
            <a:chOff x="1479583" y="2495146"/>
            <a:chExt cx="6184835" cy="3619964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C26CE23-F6CD-4185-B2DA-3F8853DCD8B3}"/>
                </a:ext>
              </a:extLst>
            </p:cNvPr>
            <p:cNvSpPr txBox="1"/>
            <p:nvPr/>
          </p:nvSpPr>
          <p:spPr>
            <a:xfrm>
              <a:off x="2101013" y="4610101"/>
              <a:ext cx="835485" cy="40011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solidFill>
                    <a:srgbClr val="C00000"/>
                  </a:solidFill>
                </a:rPr>
                <a:t>Hb G2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4B13FB65-7C9A-4A27-81D4-EE411DE2D0B8}"/>
                </a:ext>
              </a:extLst>
            </p:cNvPr>
            <p:cNvSpPr txBox="1"/>
            <p:nvPr/>
          </p:nvSpPr>
          <p:spPr>
            <a:xfrm>
              <a:off x="2101013" y="2514600"/>
              <a:ext cx="705642" cy="40011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solidFill>
                    <a:srgbClr val="C00000"/>
                  </a:solidFill>
                </a:rPr>
                <a:t>Hb G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9C9C1794-4931-4FFF-8704-E37AA0002BF6}"/>
                </a:ext>
              </a:extLst>
            </p:cNvPr>
            <p:cNvSpPr txBox="1"/>
            <p:nvPr/>
          </p:nvSpPr>
          <p:spPr>
            <a:xfrm>
              <a:off x="1479583" y="5715000"/>
              <a:ext cx="618483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/>
                <a:t>Hb AG (Hemoglobin G-Philadelphia trait): clinically silent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07B22B7D-1783-4186-9E24-626E9ED7CD27}"/>
                </a:ext>
              </a:extLst>
            </p:cNvPr>
            <p:cNvSpPr/>
            <p:nvPr/>
          </p:nvSpPr>
          <p:spPr>
            <a:xfrm>
              <a:off x="4444642" y="2495146"/>
              <a:ext cx="705642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2000" b="1" dirty="0">
                  <a:solidFill>
                    <a:srgbClr val="C00000"/>
                  </a:solidFill>
                </a:rPr>
                <a:t>Hb G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C9581475-8882-44B5-BE7A-0BE157BF766B}"/>
                </a:ext>
              </a:extLst>
            </p:cNvPr>
            <p:cNvSpPr/>
            <p:nvPr/>
          </p:nvSpPr>
          <p:spPr>
            <a:xfrm>
              <a:off x="5354414" y="4439869"/>
              <a:ext cx="835485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2000" b="1" dirty="0">
                  <a:solidFill>
                    <a:srgbClr val="C00000"/>
                  </a:solidFill>
                </a:rPr>
                <a:t>Hb G2</a:t>
              </a:r>
            </a:p>
          </p:txBody>
        </p:sp>
      </p:grp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798B79E5-1267-4F56-9F0B-E36900315276}"/>
              </a:ext>
            </a:extLst>
          </p:cNvPr>
          <p:cNvCxnSpPr>
            <a:cxnSpLocks/>
          </p:cNvCxnSpPr>
          <p:nvPr/>
        </p:nvCxnSpPr>
        <p:spPr>
          <a:xfrm flipH="1">
            <a:off x="5451955" y="4798069"/>
            <a:ext cx="274320" cy="91440"/>
          </a:xfrm>
          <a:prstGeom prst="straightConnector1">
            <a:avLst/>
          </a:prstGeom>
          <a:ln w="317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90ED58A-B18F-4A66-9F47-2669FE07A79E}"/>
              </a:ext>
            </a:extLst>
          </p:cNvPr>
          <p:cNvCxnSpPr>
            <a:cxnSpLocks/>
          </p:cNvCxnSpPr>
          <p:nvPr/>
        </p:nvCxnSpPr>
        <p:spPr>
          <a:xfrm flipH="1">
            <a:off x="1981200" y="2895600"/>
            <a:ext cx="274320" cy="91440"/>
          </a:xfrm>
          <a:prstGeom prst="straightConnector1">
            <a:avLst/>
          </a:prstGeom>
          <a:ln w="317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ED19E71C-A86C-4447-8B59-32D4701B3947}"/>
              </a:ext>
            </a:extLst>
          </p:cNvPr>
          <p:cNvCxnSpPr>
            <a:cxnSpLocks/>
          </p:cNvCxnSpPr>
          <p:nvPr/>
        </p:nvCxnSpPr>
        <p:spPr>
          <a:xfrm flipH="1">
            <a:off x="4572000" y="2895600"/>
            <a:ext cx="274320" cy="91440"/>
          </a:xfrm>
          <a:prstGeom prst="straightConnector1">
            <a:avLst/>
          </a:prstGeom>
          <a:ln w="317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E18D9043-805B-4480-93F7-D2AE9313FFFF}"/>
              </a:ext>
            </a:extLst>
          </p:cNvPr>
          <p:cNvCxnSpPr>
            <a:cxnSpLocks/>
          </p:cNvCxnSpPr>
          <p:nvPr/>
        </p:nvCxnSpPr>
        <p:spPr>
          <a:xfrm flipH="1">
            <a:off x="1981200" y="4975860"/>
            <a:ext cx="274320" cy="91440"/>
          </a:xfrm>
          <a:prstGeom prst="straightConnector1">
            <a:avLst/>
          </a:prstGeom>
          <a:ln w="317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A51C6D71-0A7A-406F-9705-277806E09E45}"/>
              </a:ext>
            </a:extLst>
          </p:cNvPr>
          <p:cNvGrpSpPr/>
          <p:nvPr/>
        </p:nvGrpSpPr>
        <p:grpSpPr>
          <a:xfrm>
            <a:off x="2130504" y="2825345"/>
            <a:ext cx="3539521" cy="3712841"/>
            <a:chOff x="2130504" y="2825345"/>
            <a:chExt cx="3539521" cy="3712841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BFA7948D-E99A-4283-A065-E825EF93A86E}"/>
                </a:ext>
              </a:extLst>
            </p:cNvPr>
            <p:cNvSpPr/>
            <p:nvPr/>
          </p:nvSpPr>
          <p:spPr>
            <a:xfrm>
              <a:off x="3473976" y="6199632"/>
              <a:ext cx="219604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fontAlgn="base">
                <a:spcBef>
                  <a:spcPct val="0"/>
                </a:spcBef>
                <a:buClr>
                  <a:srgbClr val="003366"/>
                </a:buClr>
                <a:buSzPct val="90000"/>
              </a:pPr>
              <a:r>
                <a:rPr lang="en-US" sz="16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</a:rPr>
                <a:t>Hb G (</a:t>
              </a:r>
              <a:r>
                <a:rPr lang="el-GR" sz="16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</a:rPr>
                <a:t>α</a:t>
              </a:r>
              <a:r>
                <a:rPr lang="en-US" sz="16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</a:rPr>
                <a:t> 68</a:t>
              </a:r>
              <a:r>
                <a:rPr lang="en-US" sz="16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sym typeface="Symbol" pitchFamily="18" charset="2"/>
                </a:rPr>
                <a:t> Asn</a:t>
              </a:r>
              <a:r>
                <a:rPr lang="en-US" sz="1600" b="1" i="1" baseline="30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sym typeface="Symbol" pitchFamily="18" charset="2"/>
                </a:rPr>
                <a:t>0</a:t>
              </a:r>
              <a:r>
                <a:rPr lang="en-US" sz="16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sym typeface="Symbol" pitchFamily="18" charset="2"/>
                </a:rPr>
                <a:t> </a:t>
              </a:r>
              <a:r>
                <a:rPr lang="en-US" sz="16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sym typeface="Wingdings" pitchFamily="2" charset="2"/>
                </a:rPr>
                <a:t> Lys</a:t>
              </a:r>
              <a:r>
                <a:rPr lang="en-US" sz="1600" b="1" i="1" baseline="30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sym typeface="Wingdings" pitchFamily="2" charset="2"/>
                </a:rPr>
                <a:t>+</a:t>
              </a:r>
              <a:r>
                <a:rPr lang="en-US" sz="16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sym typeface="Wingdings" pitchFamily="2" charset="2"/>
                </a:rPr>
                <a:t>)</a:t>
              </a:r>
              <a:endPara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00C5070-9DF9-4E19-BF9E-4721F01A83D5}"/>
                </a:ext>
              </a:extLst>
            </p:cNvPr>
            <p:cNvSpPr/>
            <p:nvPr/>
          </p:nvSpPr>
          <p:spPr>
            <a:xfrm>
              <a:off x="2130504" y="2825345"/>
              <a:ext cx="873957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2400" b="1" dirty="0">
                  <a:solidFill>
                    <a:srgbClr val="C00000"/>
                  </a:solidFill>
                </a:rPr>
                <a:t>α</a:t>
              </a:r>
              <a:r>
                <a:rPr lang="en-US" sz="2400" b="1" baseline="30000" dirty="0">
                  <a:solidFill>
                    <a:srgbClr val="C00000"/>
                  </a:solidFill>
                </a:rPr>
                <a:t>G</a:t>
              </a:r>
              <a:r>
                <a:rPr lang="en-US" sz="2400" b="1" baseline="-25000" dirty="0">
                  <a:solidFill>
                    <a:srgbClr val="C00000"/>
                  </a:solidFill>
                </a:rPr>
                <a:t>2</a:t>
              </a:r>
              <a:r>
                <a:rPr lang="el-GR" sz="2400" b="1" dirty="0">
                  <a:solidFill>
                    <a:srgbClr val="C00000"/>
                  </a:solidFill>
                </a:rPr>
                <a:t>β</a:t>
              </a:r>
              <a:r>
                <a:rPr lang="en-US" sz="2400" b="1" baseline="-25000" dirty="0">
                  <a:solidFill>
                    <a:srgbClr val="C00000"/>
                  </a:solidFill>
                </a:rPr>
                <a:t>2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5BF1ED5-280D-4553-B6BF-C0AD1E613444}"/>
                </a:ext>
              </a:extLst>
            </p:cNvPr>
            <p:cNvSpPr/>
            <p:nvPr/>
          </p:nvSpPr>
          <p:spPr>
            <a:xfrm>
              <a:off x="2130504" y="4948535"/>
              <a:ext cx="869149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2400" b="1" dirty="0">
                  <a:solidFill>
                    <a:srgbClr val="C00000"/>
                  </a:solidFill>
                </a:rPr>
                <a:t>α</a:t>
              </a:r>
              <a:r>
                <a:rPr lang="en-US" sz="2400" b="1" baseline="30000" dirty="0">
                  <a:solidFill>
                    <a:srgbClr val="C00000"/>
                  </a:solidFill>
                </a:rPr>
                <a:t>G</a:t>
              </a:r>
              <a:r>
                <a:rPr lang="en-US" sz="2400" b="1" baseline="-25000" dirty="0">
                  <a:solidFill>
                    <a:srgbClr val="C00000"/>
                  </a:solidFill>
                </a:rPr>
                <a:t>2</a:t>
              </a:r>
              <a:r>
                <a:rPr lang="el-GR" sz="2400" b="1" dirty="0">
                  <a:solidFill>
                    <a:srgbClr val="C00000"/>
                  </a:solidFill>
                </a:rPr>
                <a:t>δ</a:t>
              </a:r>
              <a:r>
                <a:rPr lang="en-US" sz="2400" b="1" baseline="-25000" dirty="0">
                  <a:solidFill>
                    <a:srgbClr val="C00000"/>
                  </a:solidFill>
                </a:rPr>
                <a:t>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214314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oratory review: compound disorde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123D6-A26F-48C4-B68B-48002B28495B}" type="slidenum">
              <a:rPr lang="en-US" smtClean="0"/>
              <a:pPr/>
              <a:t>33</a:t>
            </a:fld>
            <a:r>
              <a:rPr lang="en-US"/>
              <a:t> </a:t>
            </a:r>
            <a:r>
              <a:rPr lang="en-US">
                <a:sym typeface="Symbol"/>
              </a:rPr>
              <a:t></a:t>
            </a:r>
            <a:endParaRPr lang="en-US" dirty="0"/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693091" y="4791075"/>
            <a:ext cx="1696747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sym typeface="Symbol" pitchFamily="18" charset="2"/>
              </a:rPr>
              <a:t>Hb AS</a:t>
            </a:r>
          </a:p>
          <a:p>
            <a:pPr algn="ctr" eaLnBrk="1" hangingPunct="1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sym typeface="Symbol" pitchFamily="18" charset="2"/>
              </a:rPr>
              <a:t>(Sickle cell trait)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</p:txBody>
      </p:sp>
      <p:sp>
        <p:nvSpPr>
          <p:cNvPr id="6" name="Text Box 5"/>
          <p:cNvSpPr txBox="1">
            <a:spLocks noChangeArrowheads="1"/>
          </p:cNvSpPr>
          <p:nvPr/>
        </p:nvSpPr>
        <p:spPr bwMode="auto">
          <a:xfrm>
            <a:off x="3030538" y="4791075"/>
            <a:ext cx="2210542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sym typeface="Symbol" pitchFamily="18" charset="2"/>
              </a:rPr>
              <a:t>Hb AS plus</a:t>
            </a:r>
          </a:p>
          <a:p>
            <a:pPr algn="ctr" eaLnBrk="1" hangingPunct="1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sym typeface="Symbol" pitchFamily="18" charset="2"/>
              </a:rPr>
              <a:t> thalassemia minor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</p:txBody>
      </p:sp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39704708"/>
              </p:ext>
            </p:extLst>
          </p:nvPr>
        </p:nvGraphicFramePr>
        <p:xfrm>
          <a:off x="493713" y="1585913"/>
          <a:ext cx="8116887" cy="2998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Image" r:id="rId3" imgW="8119201" imgH="2998984" progId="Photoshop.Image.7">
                  <p:embed/>
                </p:oleObj>
              </mc:Choice>
              <mc:Fallback>
                <p:oleObj name="Image" r:id="rId3" imgW="8119201" imgH="2998984" progId="Photoshop.Image.7">
                  <p:embed/>
                  <p:pic>
                    <p:nvPicPr>
                      <p:cNvPr id="7" name="Object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3713" y="1585913"/>
                        <a:ext cx="8116887" cy="2998787"/>
                      </a:xfrm>
                      <a:prstGeom prst="rect">
                        <a:avLst/>
                      </a:prstGeom>
                      <a:noFill/>
                      <a:ln w="25400">
                        <a:solidFill>
                          <a:schemeClr val="bg1">
                            <a:lumMod val="65000"/>
                          </a:schemeClr>
                        </a:solidFill>
                        <a:miter lim="800000"/>
                        <a:headEnd/>
                        <a:tailEnd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Box 7"/>
          <p:cNvSpPr txBox="1">
            <a:spLocks noChangeArrowheads="1"/>
          </p:cNvSpPr>
          <p:nvPr/>
        </p:nvSpPr>
        <p:spPr bwMode="auto">
          <a:xfrm>
            <a:off x="5964238" y="4791075"/>
            <a:ext cx="2210542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sym typeface="Symbol" pitchFamily="18" charset="2"/>
              </a:rPr>
              <a:t>Hb AC plus</a:t>
            </a:r>
          </a:p>
          <a:p>
            <a:pPr algn="ctr" eaLnBrk="1" hangingPunct="1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sym typeface="Symbol" pitchFamily="18" charset="2"/>
              </a:rPr>
              <a:t> thalassemia minor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auto">
          <a:xfrm>
            <a:off x="8001000" y="1600200"/>
            <a:ext cx="6096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HPLC</a:t>
            </a:r>
          </a:p>
        </p:txBody>
      </p:sp>
    </p:spTree>
    <p:extLst>
      <p:ext uri="{BB962C8B-B14F-4D97-AF65-F5344CB8AC3E}">
        <p14:creationId xmlns:p14="http://schemas.microsoft.com/office/powerpoint/2010/main" val="28279428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utoUpdateAnimBg="0"/>
      <p:bldP spid="6" grpId="0" autoUpdateAnimBg="0"/>
      <p:bldP spid="8" grpId="0" autoUpdateAnimBg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oratory review: hemoglobin A &amp; 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123D6-A26F-48C4-B68B-48002B28495B}" type="slidenum">
              <a:rPr lang="en-US" smtClean="0"/>
              <a:pPr/>
              <a:t>34</a:t>
            </a:fld>
            <a:r>
              <a:rPr lang="en-US"/>
              <a:t> </a:t>
            </a:r>
            <a:r>
              <a:rPr lang="en-US">
                <a:sym typeface="Symbol"/>
              </a:rPr>
              <a:t></a:t>
            </a:r>
            <a:endParaRPr lang="en-US" dirty="0"/>
          </a:p>
        </p:txBody>
      </p:sp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4800600" y="1915715"/>
            <a:ext cx="2077492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Hb AS </a:t>
            </a:r>
          </a:p>
          <a:p>
            <a:pPr lvl="1" eaLnBrk="1" hangingPunct="1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Consistent with</a:t>
            </a:r>
          </a:p>
          <a:p>
            <a:pPr lvl="1" eaLnBrk="1" hangingPunct="1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Sickle cell trait</a:t>
            </a:r>
          </a:p>
        </p:txBody>
      </p:sp>
      <p:sp>
        <p:nvSpPr>
          <p:cNvPr id="6" name="Text Box 6"/>
          <p:cNvSpPr txBox="1">
            <a:spLocks noChangeArrowheads="1"/>
          </p:cNvSpPr>
          <p:nvPr/>
        </p:nvSpPr>
        <p:spPr bwMode="auto">
          <a:xfrm>
            <a:off x="4800600" y="3544192"/>
            <a:ext cx="3458704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Hb SA</a:t>
            </a:r>
          </a:p>
          <a:p>
            <a:pPr lvl="1" eaLnBrk="1" hangingPunct="1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Consistent with</a:t>
            </a:r>
          </a:p>
          <a:p>
            <a:pPr lvl="1" eaLnBrk="1" hangingPunct="1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Hb SS and recent transfusion</a:t>
            </a:r>
          </a:p>
        </p:txBody>
      </p:sp>
      <p:sp>
        <p:nvSpPr>
          <p:cNvPr id="7" name="Text Box 7"/>
          <p:cNvSpPr txBox="1">
            <a:spLocks noChangeArrowheads="1"/>
          </p:cNvSpPr>
          <p:nvPr/>
        </p:nvSpPr>
        <p:spPr bwMode="auto">
          <a:xfrm>
            <a:off x="4800600" y="5172670"/>
            <a:ext cx="2643352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Hb SA</a:t>
            </a:r>
          </a:p>
          <a:p>
            <a:pPr lvl="1" eaLnBrk="1" hangingPunct="1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Consistent with</a:t>
            </a:r>
          </a:p>
          <a:p>
            <a:pPr lvl="1" eaLnBrk="1" hangingPunct="1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Hb S/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sym typeface="Symbol" pitchFamily="18" charset="2"/>
              </a:rPr>
              <a:t>+ Thalassemia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</p:txBody>
      </p:sp>
      <p:graphicFrame>
        <p:nvGraphicFramePr>
          <p:cNvPr id="9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45786955"/>
              </p:ext>
            </p:extLst>
          </p:nvPr>
        </p:nvGraphicFramePr>
        <p:xfrm>
          <a:off x="860423" y="1524001"/>
          <a:ext cx="3572478" cy="48463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Image" r:id="rId3" imgW="3706062" imgH="5028784" progId="Photoshop.Image.7">
                  <p:embed/>
                </p:oleObj>
              </mc:Choice>
              <mc:Fallback>
                <p:oleObj name="Image" r:id="rId3" imgW="3706062" imgH="5028784" progId="Photoshop.Image.7">
                  <p:embed/>
                  <p:pic>
                    <p:nvPicPr>
                      <p:cNvPr id="9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60423" y="1524001"/>
                        <a:ext cx="3572478" cy="4846320"/>
                      </a:xfrm>
                      <a:prstGeom prst="rect">
                        <a:avLst/>
                      </a:prstGeom>
                      <a:noFill/>
                      <a:ln w="25400">
                        <a:solidFill>
                          <a:schemeClr val="bg1">
                            <a:lumMod val="65000"/>
                          </a:schemeClr>
                        </a:solidFill>
                        <a:miter lim="800000"/>
                        <a:headEnd/>
                        <a:tailEnd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2590800" y="1607938"/>
            <a:ext cx="6096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HPLC</a:t>
            </a:r>
          </a:p>
        </p:txBody>
      </p:sp>
    </p:spTree>
    <p:extLst>
      <p:ext uri="{BB962C8B-B14F-4D97-AF65-F5344CB8AC3E}">
        <p14:creationId xmlns:p14="http://schemas.microsoft.com/office/powerpoint/2010/main" val="32189536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utoUpdateAnimBg="0"/>
      <p:bldP spid="6" grpId="0" autoUpdateAnimBg="0"/>
      <p:bldP spid="7" grpId="0" autoUpdateAnimBg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oratory review: hemoglobin F quantific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0040" y="1447800"/>
            <a:ext cx="3032760" cy="4572000"/>
          </a:xfrm>
        </p:spPr>
        <p:txBody>
          <a:bodyPr/>
          <a:lstStyle/>
          <a:p>
            <a:r>
              <a:rPr lang="en-US" dirty="0"/>
              <a:t>46 year old with sickle cell disea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123D6-A26F-48C4-B68B-48002B28495B}" type="slidenum">
              <a:rPr lang="en-US" smtClean="0"/>
              <a:pPr/>
              <a:t>35</a:t>
            </a:fld>
            <a:r>
              <a:rPr lang="en-US"/>
              <a:t> </a:t>
            </a:r>
            <a:r>
              <a:rPr lang="en-US">
                <a:sym typeface="Symbol"/>
              </a:rPr>
              <a:t>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0" y="3020398"/>
            <a:ext cx="5029200" cy="3075602"/>
          </a:xfrm>
          <a:prstGeom prst="rect">
            <a:avLst/>
          </a:prstGeom>
          <a:ln w="25400">
            <a:solidFill>
              <a:schemeClr val="bg1">
                <a:lumMod val="65000"/>
              </a:schemeClr>
            </a:solidFill>
          </a:ln>
        </p:spPr>
      </p:pic>
      <p:pic>
        <p:nvPicPr>
          <p:cNvPr id="7" name="Picture 1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0" y="1447800"/>
            <a:ext cx="5029200" cy="1416330"/>
          </a:xfrm>
          <a:prstGeom prst="rect">
            <a:avLst/>
          </a:prstGeom>
          <a:noFill/>
          <a:ln w="2540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 Box 12"/>
          <p:cNvSpPr txBox="1">
            <a:spLocks noChangeArrowheads="1"/>
          </p:cNvSpPr>
          <p:nvPr/>
        </p:nvSpPr>
        <p:spPr bwMode="auto">
          <a:xfrm>
            <a:off x="901700" y="3810000"/>
            <a:ext cx="1876425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223838" indent="-223838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565150" indent="-227013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ts val="0"/>
              </a:spcBef>
              <a:buClr>
                <a:srgbClr val="003366"/>
              </a:buClr>
              <a:buFont typeface="Wingdings" pitchFamily="2" charset="2"/>
              <a:buNone/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Diagnosis:</a:t>
            </a:r>
          </a:p>
          <a:p>
            <a:pPr algn="ctr" eaLnBrk="1" hangingPunct="1">
              <a:spcBef>
                <a:spcPts val="0"/>
              </a:spcBef>
              <a:buClr>
                <a:srgbClr val="003366"/>
              </a:buClr>
              <a:buFont typeface="Wingdings" pitchFamily="2" charset="2"/>
              <a:buNone/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Hb SS with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sym typeface="Symbol" pitchFamily="18" charset="2"/>
              </a:rPr>
              <a:t> </a:t>
            </a: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Hb F</a:t>
            </a:r>
          </a:p>
        </p:txBody>
      </p:sp>
      <p:sp>
        <p:nvSpPr>
          <p:cNvPr id="9" name="Text Box 12"/>
          <p:cNvSpPr txBox="1">
            <a:spLocks noChangeArrowheads="1"/>
          </p:cNvSpPr>
          <p:nvPr/>
        </p:nvSpPr>
        <p:spPr bwMode="auto">
          <a:xfrm>
            <a:off x="533400" y="4744541"/>
            <a:ext cx="2613025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223838" indent="-223838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565150" indent="-227013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ts val="0"/>
              </a:spcBef>
              <a:buClr>
                <a:srgbClr val="003366"/>
              </a:buClr>
              <a:buFont typeface="Wingdings" pitchFamily="2" charset="2"/>
              <a:buNone/>
            </a:pPr>
            <a:r>
              <a:rPr lang="en-US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Macrocytosis</a:t>
            </a: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:</a:t>
            </a:r>
          </a:p>
          <a:p>
            <a:pPr algn="ctr" eaLnBrk="1" hangingPunct="1">
              <a:spcBef>
                <a:spcPts val="0"/>
              </a:spcBef>
              <a:buClr>
                <a:srgbClr val="003366"/>
              </a:buClr>
              <a:buFont typeface="Wingdings" pitchFamily="2" charset="2"/>
              <a:buNone/>
            </a:pPr>
            <a:r>
              <a:rPr lang="en-US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Hydroxyurea</a:t>
            </a: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 therapy</a:t>
            </a:r>
          </a:p>
        </p:txBody>
      </p:sp>
      <p:sp>
        <p:nvSpPr>
          <p:cNvPr id="10" name="Text Box 5"/>
          <p:cNvSpPr txBox="1">
            <a:spLocks noChangeArrowheads="1"/>
          </p:cNvSpPr>
          <p:nvPr/>
        </p:nvSpPr>
        <p:spPr bwMode="auto">
          <a:xfrm>
            <a:off x="4267200" y="3139420"/>
            <a:ext cx="6096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HPLC</a:t>
            </a:r>
          </a:p>
        </p:txBody>
      </p:sp>
    </p:spTree>
    <p:extLst>
      <p:ext uri="{BB962C8B-B14F-4D97-AF65-F5344CB8AC3E}">
        <p14:creationId xmlns:p14="http://schemas.microsoft.com/office/powerpoint/2010/main" val="11476066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utoUpdateAnimBg="0"/>
      <p:bldP spid="9" grpId="0" autoUpdateAnimBg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oratory review: neonatal test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4 month old female; normal CBC</a:t>
            </a:r>
          </a:p>
          <a:p>
            <a:pPr lvl="1"/>
            <a:r>
              <a:rPr lang="en-US" dirty="0"/>
              <a:t>Follow up of abnormal newborn scree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123D6-A26F-48C4-B68B-48002B28495B}" type="slidenum">
              <a:rPr lang="en-US" smtClean="0"/>
              <a:pPr/>
              <a:t>36</a:t>
            </a:fld>
            <a:r>
              <a:rPr lang="en-US" dirty="0"/>
              <a:t> </a:t>
            </a:r>
            <a:r>
              <a:rPr lang="en-US" dirty="0">
                <a:sym typeface="Symbol"/>
              </a:rPr>
              <a:t>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307053" y="6076890"/>
            <a:ext cx="452989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b AS (sickle cell trait</a:t>
            </a: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rPr>
              <a:t>) with residual Hb F</a:t>
            </a:r>
            <a:endParaRPr lang="en-US"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5" name="Text Box 5"/>
          <p:cNvSpPr txBox="1">
            <a:spLocks noChangeArrowheads="1"/>
          </p:cNvSpPr>
          <p:nvPr/>
        </p:nvSpPr>
        <p:spPr bwMode="auto">
          <a:xfrm>
            <a:off x="2899694" y="2632010"/>
            <a:ext cx="6096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HPLC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230C736-263F-4304-860B-CD4B1E358EF4}"/>
              </a:ext>
            </a:extLst>
          </p:cNvPr>
          <p:cNvGrpSpPr/>
          <p:nvPr/>
        </p:nvGrpSpPr>
        <p:grpSpPr>
          <a:xfrm>
            <a:off x="1409700" y="2362200"/>
            <a:ext cx="6324600" cy="3581400"/>
            <a:chOff x="1409700" y="2362200"/>
            <a:chExt cx="6324600" cy="3581400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B6AB7757-27C6-4870-8700-0BFF168B8A81}"/>
                </a:ext>
              </a:extLst>
            </p:cNvPr>
            <p:cNvGrpSpPr/>
            <p:nvPr/>
          </p:nvGrpSpPr>
          <p:grpSpPr>
            <a:xfrm>
              <a:off x="1409700" y="2362200"/>
              <a:ext cx="6324600" cy="3581400"/>
              <a:chOff x="1524000" y="2362200"/>
              <a:chExt cx="6324600" cy="3581400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04B4AEFF-C7F9-4A6A-A171-390BB7362AD0}"/>
                  </a:ext>
                </a:extLst>
              </p:cNvPr>
              <p:cNvGrpSpPr/>
              <p:nvPr/>
            </p:nvGrpSpPr>
            <p:grpSpPr>
              <a:xfrm>
                <a:off x="1607987" y="2461260"/>
                <a:ext cx="6156627" cy="3383280"/>
                <a:chOff x="1615773" y="2331720"/>
                <a:chExt cx="6156627" cy="3383280"/>
              </a:xfrm>
            </p:grpSpPr>
            <p:grpSp>
              <p:nvGrpSpPr>
                <p:cNvPr id="10" name="Group 9">
                  <a:extLst>
                    <a:ext uri="{FF2B5EF4-FFF2-40B4-BE49-F238E27FC236}">
                      <a16:creationId xmlns:a16="http://schemas.microsoft.com/office/drawing/2014/main" id="{A0C576BD-0ABB-440C-BCA0-E35D4324F4EB}"/>
                    </a:ext>
                  </a:extLst>
                </p:cNvPr>
                <p:cNvGrpSpPr/>
                <p:nvPr/>
              </p:nvGrpSpPr>
              <p:grpSpPr>
                <a:xfrm>
                  <a:off x="1615773" y="2331720"/>
                  <a:ext cx="6156627" cy="3383280"/>
                  <a:chOff x="1615773" y="2331720"/>
                  <a:chExt cx="6156627" cy="3383280"/>
                </a:xfrm>
              </p:grpSpPr>
              <p:pic>
                <p:nvPicPr>
                  <p:cNvPr id="8" name="Picture 7">
                    <a:extLst>
                      <a:ext uri="{FF2B5EF4-FFF2-40B4-BE49-F238E27FC236}">
                        <a16:creationId xmlns:a16="http://schemas.microsoft.com/office/drawing/2014/main" id="{2E3BBE37-1156-407A-B55A-8BF90198A00E}"/>
                      </a:ext>
                    </a:extLst>
                  </p:cNvPr>
                  <p:cNvPicPr>
                    <a:picLocks/>
                  </p:cNvPicPr>
                  <p:nvPr/>
                </p:nvPicPr>
                <p:blipFill rotWithShape="1">
                  <a:blip r:embed="rId2"/>
                  <a:srcRect l="5405"/>
                  <a:stretch/>
                </p:blipFill>
                <p:spPr>
                  <a:xfrm rot="16200000">
                    <a:off x="1295733" y="2651760"/>
                    <a:ext cx="3383280" cy="2743200"/>
                  </a:xfrm>
                  <a:prstGeom prst="rect">
                    <a:avLst/>
                  </a:prstGeom>
                </p:spPr>
              </p:pic>
              <p:pic>
                <p:nvPicPr>
                  <p:cNvPr id="9" name="Picture 8">
                    <a:extLst>
                      <a:ext uri="{FF2B5EF4-FFF2-40B4-BE49-F238E27FC236}">
                        <a16:creationId xmlns:a16="http://schemas.microsoft.com/office/drawing/2014/main" id="{D6DEF02E-20CE-45BE-83AE-E861129EB43D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5029200" y="2331720"/>
                    <a:ext cx="2743200" cy="3383280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11" name="Rectangle 10">
                  <a:extLst>
                    <a:ext uri="{FF2B5EF4-FFF2-40B4-BE49-F238E27FC236}">
                      <a16:creationId xmlns:a16="http://schemas.microsoft.com/office/drawing/2014/main" id="{F15BF0E9-1847-41A9-8F1F-FA078E4517E3}"/>
                    </a:ext>
                  </a:extLst>
                </p:cNvPr>
                <p:cNvSpPr/>
                <p:nvPr/>
              </p:nvSpPr>
              <p:spPr>
                <a:xfrm>
                  <a:off x="2814935" y="4142601"/>
                  <a:ext cx="461665" cy="276999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b="1" dirty="0"/>
                    <a:t>Hb A</a:t>
                  </a: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0A5BB991-86AB-4AC7-9D5B-DB33D9A530EC}"/>
                    </a:ext>
                  </a:extLst>
                </p:cNvPr>
                <p:cNvSpPr/>
                <p:nvPr/>
              </p:nvSpPr>
              <p:spPr>
                <a:xfrm>
                  <a:off x="3759792" y="4371201"/>
                  <a:ext cx="431208" cy="276999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b="1" dirty="0"/>
                    <a:t>Hb S</a:t>
                  </a:r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2CE4921F-CC00-48AA-81C2-52D4E27E51B4}"/>
                    </a:ext>
                  </a:extLst>
                </p:cNvPr>
                <p:cNvSpPr/>
                <p:nvPr/>
              </p:nvSpPr>
              <p:spPr>
                <a:xfrm>
                  <a:off x="1828800" y="2667000"/>
                  <a:ext cx="428002" cy="276999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dirty="0"/>
                    <a:t>Hb F</a:t>
                  </a: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AD0DE6C1-1F17-40CA-A515-5F9FE072880C}"/>
                    </a:ext>
                  </a:extLst>
                </p:cNvPr>
                <p:cNvSpPr/>
                <p:nvPr/>
              </p:nvSpPr>
              <p:spPr>
                <a:xfrm>
                  <a:off x="6169132" y="2743200"/>
                  <a:ext cx="428002" cy="276999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b="1" dirty="0"/>
                    <a:t>Hb F</a:t>
                  </a:r>
                </a:p>
              </p:txBody>
            </p:sp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7FD88A27-89FA-46CA-9DF7-9867D36AC7F1}"/>
                    </a:ext>
                  </a:extLst>
                </p:cNvPr>
                <p:cNvSpPr/>
                <p:nvPr/>
              </p:nvSpPr>
              <p:spPr>
                <a:xfrm>
                  <a:off x="5334000" y="4447401"/>
                  <a:ext cx="461665" cy="276999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b="1" dirty="0"/>
                    <a:t>Hb A</a:t>
                  </a: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CFD5C839-8D17-4DB4-80AE-ED4F49E72CE5}"/>
                    </a:ext>
                  </a:extLst>
                </p:cNvPr>
                <p:cNvSpPr/>
                <p:nvPr/>
              </p:nvSpPr>
              <p:spPr>
                <a:xfrm>
                  <a:off x="6477000" y="4676001"/>
                  <a:ext cx="642805" cy="276999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b="1" dirty="0"/>
                    <a:t>  Hb S  </a:t>
                  </a:r>
                </a:p>
              </p:txBody>
            </p:sp>
            <p:sp>
              <p:nvSpPr>
                <p:cNvPr id="54" name="Rectangle 53">
                  <a:extLst>
                    <a:ext uri="{FF2B5EF4-FFF2-40B4-BE49-F238E27FC236}">
                      <a16:creationId xmlns:a16="http://schemas.microsoft.com/office/drawing/2014/main" id="{93FF2F26-1CF5-4563-BE2B-B1DDAE997C63}"/>
                    </a:ext>
                  </a:extLst>
                </p:cNvPr>
                <p:cNvSpPr/>
                <p:nvPr/>
              </p:nvSpPr>
              <p:spPr>
                <a:xfrm>
                  <a:off x="3392269" y="5254823"/>
                  <a:ext cx="493931" cy="307777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rIns="0">
                  <a:spAutoFit/>
                </a:bodyPr>
                <a:lstStyle/>
                <a:p>
                  <a:r>
                    <a:rPr lang="en-US" sz="1400" b="1" dirty="0"/>
                    <a:t>Hb A2</a:t>
                  </a:r>
                </a:p>
              </p:txBody>
            </p:sp>
            <p:sp>
              <p:nvSpPr>
                <p:cNvPr id="55" name="Rectangle 54">
                  <a:extLst>
                    <a:ext uri="{FF2B5EF4-FFF2-40B4-BE49-F238E27FC236}">
                      <a16:creationId xmlns:a16="http://schemas.microsoft.com/office/drawing/2014/main" id="{1AA0A70C-84B0-4682-A7B8-3E871F16EFC0}"/>
                    </a:ext>
                  </a:extLst>
                </p:cNvPr>
                <p:cNvSpPr/>
                <p:nvPr/>
              </p:nvSpPr>
              <p:spPr>
                <a:xfrm>
                  <a:off x="7093356" y="5257800"/>
                  <a:ext cx="450444" cy="215444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sz="1400" b="1" dirty="0"/>
                    <a:t>Hb A2</a:t>
                  </a:r>
                </a:p>
              </p:txBody>
            </p:sp>
          </p:grp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158ECC2F-67AF-4206-B99D-716B85D2279F}"/>
                  </a:ext>
                </a:extLst>
              </p:cNvPr>
              <p:cNvSpPr/>
              <p:nvPr/>
            </p:nvSpPr>
            <p:spPr>
              <a:xfrm>
                <a:off x="1524000" y="2362200"/>
                <a:ext cx="6324600" cy="3581400"/>
              </a:xfrm>
              <a:prstGeom prst="rect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AEEF478-8F2B-4B6C-B10E-9B22C71411D0}"/>
                </a:ext>
              </a:extLst>
            </p:cNvPr>
            <p:cNvSpPr/>
            <p:nvPr/>
          </p:nvSpPr>
          <p:spPr>
            <a:xfrm>
              <a:off x="2710085" y="2511623"/>
              <a:ext cx="724942" cy="307777"/>
            </a:xfrm>
            <a:prstGeom prst="rect">
              <a:avLst/>
            </a:prstGeom>
          </p:spPr>
          <p:txBody>
            <a:bodyPr wrap="none" tIns="0" bIns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PLC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049F1894-8440-43D8-A06C-CA32E44478C0}"/>
                </a:ext>
              </a:extLst>
            </p:cNvPr>
            <p:cNvSpPr/>
            <p:nvPr/>
          </p:nvSpPr>
          <p:spPr>
            <a:xfrm>
              <a:off x="4812257" y="2511623"/>
              <a:ext cx="2838058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tIns="0" bIns="0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apillary Electrophoresi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654792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123D6-A26F-48C4-B68B-48002B28495B}" type="slidenum">
              <a:rPr lang="en-US" smtClean="0"/>
              <a:pPr/>
              <a:t>37</a:t>
            </a:fld>
            <a:r>
              <a:rPr lang="en-US"/>
              <a:t> </a:t>
            </a:r>
            <a:r>
              <a:rPr lang="en-US">
                <a:sym typeface="Symbol"/>
              </a:rPr>
              <a:t>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535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moglobin: gene and protein stru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inked </a:t>
            </a:r>
            <a:r>
              <a:rPr lang="el-GR" dirty="0"/>
              <a:t>α-</a:t>
            </a:r>
            <a:r>
              <a:rPr lang="en-US" dirty="0"/>
              <a:t>type and </a:t>
            </a:r>
            <a:r>
              <a:rPr lang="el-GR" dirty="0"/>
              <a:t>β-</a:t>
            </a:r>
            <a:r>
              <a:rPr lang="en-US" dirty="0"/>
              <a:t>type globin gene families</a:t>
            </a:r>
          </a:p>
          <a:p>
            <a:pPr lvl="1"/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α-</a:t>
            </a:r>
            <a:r>
              <a:rPr lang="en-US" b="1" dirty="0" err="1">
                <a:solidFill>
                  <a:schemeClr val="accent3">
                    <a:lumMod val="75000"/>
                  </a:schemeClr>
                </a:solidFill>
              </a:rPr>
              <a:t>globins</a:t>
            </a:r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 on chromosome 16; β-</a:t>
            </a:r>
            <a:r>
              <a:rPr lang="en-US" b="1" dirty="0" err="1">
                <a:solidFill>
                  <a:schemeClr val="accent3">
                    <a:lumMod val="75000"/>
                  </a:schemeClr>
                </a:solidFill>
              </a:rPr>
              <a:t>globins</a:t>
            </a:r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 on chromosome 11</a:t>
            </a:r>
          </a:p>
          <a:p>
            <a:pPr lvl="1"/>
            <a:r>
              <a:rPr lang="en-US" dirty="0"/>
              <a:t>Genes are activated 5’ </a:t>
            </a:r>
            <a:r>
              <a:rPr lang="en-US" dirty="0">
                <a:sym typeface="Wingdings" panose="05000000000000000000" pitchFamily="2" charset="2"/>
              </a:rPr>
              <a:t></a:t>
            </a:r>
            <a:r>
              <a:rPr lang="en-US" dirty="0"/>
              <a:t> 3’ during development</a:t>
            </a:r>
          </a:p>
          <a:p>
            <a:pPr lvl="1"/>
            <a:r>
              <a:rPr lang="en-US" dirty="0"/>
              <a:t>Embryonic and fetal genes are suppressed </a:t>
            </a:r>
            <a:r>
              <a:rPr lang="en-US" dirty="0" err="1"/>
              <a:t>postnatally</a:t>
            </a:r>
            <a:endParaRPr lang="en-US" dirty="0"/>
          </a:p>
          <a:p>
            <a:r>
              <a:rPr lang="en-US" dirty="0" err="1"/>
              <a:t>Tetrameric</a:t>
            </a:r>
            <a:r>
              <a:rPr lang="en-US" dirty="0"/>
              <a:t> proteins: 2 </a:t>
            </a:r>
            <a:r>
              <a:rPr lang="el-GR" dirty="0"/>
              <a:t>α-</a:t>
            </a:r>
            <a:r>
              <a:rPr lang="en-US" dirty="0"/>
              <a:t>type and 2 </a:t>
            </a:r>
            <a:r>
              <a:rPr lang="el-GR" dirty="0"/>
              <a:t>β-</a:t>
            </a:r>
            <a:r>
              <a:rPr lang="en-US" dirty="0"/>
              <a:t>type globin chains</a:t>
            </a:r>
          </a:p>
          <a:p>
            <a:pPr lvl="1"/>
            <a:r>
              <a:rPr lang="en-US" dirty="0"/>
              <a:t>O</a:t>
            </a:r>
            <a:r>
              <a:rPr lang="en-US" baseline="-25000" dirty="0"/>
              <a:t>2</a:t>
            </a:r>
            <a:r>
              <a:rPr lang="en-US" dirty="0"/>
              <a:t> binds to reduced (Fe</a:t>
            </a:r>
            <a:r>
              <a:rPr lang="en-US" baseline="30000" dirty="0"/>
              <a:t>2+</a:t>
            </a:r>
            <a:r>
              <a:rPr lang="en-US" dirty="0"/>
              <a:t>) heme associated with each globin cha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123D6-A26F-48C4-B68B-48002B28495B}" type="slidenum">
              <a:rPr lang="en-US" smtClean="0"/>
              <a:pPr/>
              <a:t>4</a:t>
            </a:fld>
            <a:r>
              <a:rPr lang="en-US" dirty="0"/>
              <a:t> </a:t>
            </a:r>
            <a:r>
              <a:rPr lang="en-US" dirty="0">
                <a:sym typeface="Symbol"/>
              </a:rPr>
              <a:t></a:t>
            </a:r>
            <a:endParaRPr lang="en-US" dirty="0"/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907"/>
          <a:stretch/>
        </p:blipFill>
        <p:spPr bwMode="auto">
          <a:xfrm>
            <a:off x="531394" y="3992880"/>
            <a:ext cx="4345406" cy="2103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1443295"/>
              </p:ext>
            </p:extLst>
          </p:nvPr>
        </p:nvGraphicFramePr>
        <p:xfrm>
          <a:off x="4953000" y="4038600"/>
          <a:ext cx="3657600" cy="201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4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02920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Species</a:t>
                      </a:r>
                    </a:p>
                  </a:txBody>
                  <a:tcPr marL="45720" marR="45720" marT="0" marB="0" anchor="ctr" anchorCtr="1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Chains</a:t>
                      </a:r>
                    </a:p>
                  </a:txBody>
                  <a:tcPr marL="45720" marR="45720" marT="0" marB="0" anchor="ctr" anchorCtr="1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Fetus </a:t>
                      </a: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  <a:sym typeface="Wingdings" panose="05000000000000000000" pitchFamily="2" charset="2"/>
                        </a:rPr>
                        <a:t> </a:t>
                      </a: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Neonate</a:t>
                      </a:r>
                    </a:p>
                  </a:txBody>
                  <a:tcPr marL="45720" marR="45720" marT="0" marB="0" anchor="ctr" anchorCtr="1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Adult</a:t>
                      </a:r>
                      <a:endParaRPr kumimoji="0" 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3">
                            <a:lumMod val="7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5720" marR="45720" marT="0" marB="0" anchor="ctr" anchorCtr="1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2920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Hb F</a:t>
                      </a:r>
                    </a:p>
                  </a:txBody>
                  <a:tcPr marL="45720" marR="45720" marT="0" marB="0" anchor="ctr" anchorCtr="1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l-GR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α</a:t>
                      </a:r>
                      <a:r>
                        <a:rPr kumimoji="0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  <a:r>
                        <a:rPr kumimoji="0" lang="el-GR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γ</a:t>
                      </a:r>
                      <a:r>
                        <a:rPr kumimoji="0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</a:p>
                  </a:txBody>
                  <a:tcPr marL="45720" marR="45720" marT="0" marB="0" anchor="ctr" anchorCtr="1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75%</a:t>
                      </a:r>
                    </a:p>
                  </a:txBody>
                  <a:tcPr marL="45720" marR="45720" marT="0" marB="0" anchor="ctr" anchorCtr="1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&lt;1%</a:t>
                      </a:r>
                    </a:p>
                  </a:txBody>
                  <a:tcPr marL="45720" marR="45720" marT="0" marB="0" anchor="ctr" anchorCtr="1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2920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Hb A</a:t>
                      </a:r>
                    </a:p>
                  </a:txBody>
                  <a:tcPr marL="45720" marR="45720" marT="0" marB="0" anchor="ctr" anchorCtr="1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l-GR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α</a:t>
                      </a:r>
                      <a:r>
                        <a:rPr kumimoji="0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  <a:r>
                        <a:rPr kumimoji="0" lang="el-GR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β</a:t>
                      </a:r>
                      <a:r>
                        <a:rPr kumimoji="0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</a:p>
                  </a:txBody>
                  <a:tcPr marL="45720" marR="45720" marT="0" marB="0" anchor="ctr" anchorCtr="1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5%</a:t>
                      </a:r>
                    </a:p>
                  </a:txBody>
                  <a:tcPr marL="45720" marR="45720" marT="0" marB="0" anchor="ctr" anchorCtr="1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97%</a:t>
                      </a:r>
                    </a:p>
                  </a:txBody>
                  <a:tcPr marL="45720" marR="45720" marT="0" marB="0" anchor="ctr" anchorCtr="1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2920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Hb A2</a:t>
                      </a:r>
                    </a:p>
                  </a:txBody>
                  <a:tcPr marL="45720" marR="45720" marT="0" marB="0" anchor="ctr" anchorCtr="1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l-GR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α</a:t>
                      </a:r>
                      <a:r>
                        <a:rPr kumimoji="0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  <a:r>
                        <a:rPr kumimoji="0" lang="el-GR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δ</a:t>
                      </a:r>
                      <a:r>
                        <a:rPr kumimoji="0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</a:p>
                  </a:txBody>
                  <a:tcPr marL="45720" marR="45720" marT="0" marB="0" anchor="ctr" anchorCtr="1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&lt;1%</a:t>
                      </a:r>
                    </a:p>
                  </a:txBody>
                  <a:tcPr marL="45720" marR="45720" marT="0" marB="0" anchor="ctr" anchorCtr="1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%</a:t>
                      </a:r>
                    </a:p>
                  </a:txBody>
                  <a:tcPr marL="45720" marR="45720" marT="0" marB="0" anchor="ctr" anchorCtr="1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33401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lassemia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786578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lassemia: pathobiolog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herited quantitative hemoglobin disorders</a:t>
            </a:r>
          </a:p>
          <a:p>
            <a:pPr lvl="1"/>
            <a:r>
              <a:rPr lang="en-US" dirty="0"/>
              <a:t>Structurally normal protein synthesized at below-normal levels</a:t>
            </a:r>
          </a:p>
          <a:p>
            <a:pPr lvl="1"/>
            <a:r>
              <a:rPr lang="en-US" dirty="0"/>
              <a:t>Unbalanced synthesis of wild type globin chain</a:t>
            </a:r>
          </a:p>
          <a:p>
            <a:pPr lvl="1"/>
            <a:endParaRPr lang="en-US" sz="1600" dirty="0"/>
          </a:p>
          <a:p>
            <a:r>
              <a:rPr lang="el-GR" dirty="0">
                <a:solidFill>
                  <a:schemeClr val="accent3">
                    <a:lumMod val="75000"/>
                  </a:schemeClr>
                </a:solidFill>
              </a:rPr>
              <a:t>α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 thalassemia: </a:t>
            </a:r>
            <a:r>
              <a:rPr lang="en-US" dirty="0"/>
              <a:t>excess </a:t>
            </a:r>
            <a:r>
              <a:rPr lang="el-GR" dirty="0"/>
              <a:t>β</a:t>
            </a:r>
            <a:r>
              <a:rPr lang="en-US" dirty="0"/>
              <a:t>-type chains</a:t>
            </a:r>
          </a:p>
          <a:p>
            <a:pPr lvl="1"/>
            <a:r>
              <a:rPr lang="el-GR" dirty="0"/>
              <a:t>β</a:t>
            </a:r>
            <a:r>
              <a:rPr lang="en-US" dirty="0"/>
              <a:t>4 (Hb H), </a:t>
            </a:r>
            <a:r>
              <a:rPr lang="el-GR" dirty="0"/>
              <a:t>γ</a:t>
            </a:r>
            <a:r>
              <a:rPr lang="en-US" dirty="0"/>
              <a:t>4 (Hb </a:t>
            </a:r>
            <a:r>
              <a:rPr lang="en-US" dirty="0" err="1"/>
              <a:t>Barts</a:t>
            </a:r>
            <a:r>
              <a:rPr lang="en-US" dirty="0"/>
              <a:t>): unstable tetramers </a:t>
            </a:r>
            <a:r>
              <a:rPr lang="en-US" dirty="0">
                <a:sym typeface="Wingdings" panose="05000000000000000000" pitchFamily="2" charset="2"/>
              </a:rPr>
              <a:t></a:t>
            </a:r>
            <a:r>
              <a:rPr lang="en-US" dirty="0"/>
              <a:t> hemolysis</a:t>
            </a:r>
          </a:p>
          <a:p>
            <a:pPr lvl="1"/>
            <a:endParaRPr lang="en-US" sz="1600" dirty="0"/>
          </a:p>
          <a:p>
            <a:r>
              <a:rPr lang="el-GR" dirty="0">
                <a:solidFill>
                  <a:schemeClr val="accent3">
                    <a:lumMod val="75000"/>
                  </a:schemeClr>
                </a:solidFill>
              </a:rPr>
              <a:t>β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 thalassemia: </a:t>
            </a:r>
            <a:r>
              <a:rPr lang="en-US" dirty="0"/>
              <a:t>excess </a:t>
            </a:r>
            <a:r>
              <a:rPr lang="el-GR" dirty="0"/>
              <a:t>α</a:t>
            </a:r>
            <a:r>
              <a:rPr lang="en-US" dirty="0"/>
              <a:t>-type chains</a:t>
            </a:r>
          </a:p>
          <a:p>
            <a:pPr lvl="1"/>
            <a:r>
              <a:rPr lang="el-GR" dirty="0"/>
              <a:t>α</a:t>
            </a:r>
            <a:r>
              <a:rPr lang="en-US" dirty="0"/>
              <a:t>4: unstable, insoluble tetramers </a:t>
            </a:r>
            <a:r>
              <a:rPr lang="en-US" dirty="0">
                <a:sym typeface="Wingdings" panose="05000000000000000000" pitchFamily="2" charset="2"/>
              </a:rPr>
              <a:t></a:t>
            </a:r>
            <a:r>
              <a:rPr lang="en-US" dirty="0"/>
              <a:t> intramedullary cell death, hemolysis</a:t>
            </a:r>
          </a:p>
          <a:p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123D6-A26F-48C4-B68B-48002B28495B}" type="slidenum">
              <a:rPr lang="en-US" smtClean="0"/>
              <a:pPr/>
              <a:t>6</a:t>
            </a:fld>
            <a:r>
              <a:rPr lang="en-US" dirty="0"/>
              <a:t> </a:t>
            </a:r>
            <a:r>
              <a:rPr lang="en-US" dirty="0">
                <a:sym typeface="Symbol"/>
              </a:rPr>
              <a:t>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89739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lassemia: classific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y affected globin gene(s): </a:t>
            </a:r>
            <a:r>
              <a:rPr lang="el-GR" dirty="0"/>
              <a:t>α</a:t>
            </a:r>
            <a:r>
              <a:rPr lang="en-US" dirty="0"/>
              <a:t>, </a:t>
            </a:r>
            <a:r>
              <a:rPr lang="el-GR" dirty="0"/>
              <a:t>β</a:t>
            </a:r>
            <a:r>
              <a:rPr lang="en-US" dirty="0"/>
              <a:t>, </a:t>
            </a:r>
            <a:r>
              <a:rPr lang="el-GR" dirty="0"/>
              <a:t>δ</a:t>
            </a:r>
            <a:r>
              <a:rPr lang="en-US" dirty="0"/>
              <a:t>, </a:t>
            </a:r>
            <a:r>
              <a:rPr lang="el-GR" dirty="0"/>
              <a:t>δβ</a:t>
            </a:r>
            <a:r>
              <a:rPr lang="en-US" dirty="0"/>
              <a:t>, etc</a:t>
            </a:r>
          </a:p>
          <a:p>
            <a:pPr lvl="1"/>
            <a:r>
              <a:rPr lang="el-GR" dirty="0"/>
              <a:t>α</a:t>
            </a:r>
            <a:r>
              <a:rPr lang="en-US" dirty="0"/>
              <a:t>: most often due to large deletions of </a:t>
            </a:r>
            <a:r>
              <a:rPr lang="el-GR" dirty="0"/>
              <a:t>α</a:t>
            </a:r>
            <a:r>
              <a:rPr lang="en-US" dirty="0"/>
              <a:t> globin genes</a:t>
            </a:r>
          </a:p>
          <a:p>
            <a:pPr lvl="2"/>
            <a:r>
              <a:rPr lang="el-GR" dirty="0"/>
              <a:t>α</a:t>
            </a:r>
            <a:r>
              <a:rPr lang="en-US" baseline="30000" dirty="0"/>
              <a:t>+</a:t>
            </a:r>
            <a:r>
              <a:rPr lang="en-US" dirty="0"/>
              <a:t> (“type 2”; 1 gene deletion) vs </a:t>
            </a:r>
            <a:r>
              <a:rPr lang="el-GR" dirty="0"/>
              <a:t>α</a:t>
            </a:r>
            <a:r>
              <a:rPr lang="en-US" baseline="30000" dirty="0"/>
              <a:t>0</a:t>
            </a:r>
            <a:r>
              <a:rPr lang="en-US" dirty="0"/>
              <a:t> (“type 1”: 2 gene deletion)</a:t>
            </a:r>
          </a:p>
          <a:p>
            <a:pPr lvl="1"/>
            <a:r>
              <a:rPr lang="el-GR" dirty="0"/>
              <a:t>β</a:t>
            </a:r>
            <a:r>
              <a:rPr lang="en-US" dirty="0"/>
              <a:t>: most often due to point mutations in </a:t>
            </a:r>
            <a:r>
              <a:rPr lang="el-GR" dirty="0"/>
              <a:t>β</a:t>
            </a:r>
            <a:r>
              <a:rPr lang="en-US" dirty="0"/>
              <a:t> globin gene </a:t>
            </a:r>
            <a:r>
              <a:rPr lang="en-US" dirty="0">
                <a:sym typeface="Wingdings" panose="05000000000000000000" pitchFamily="2" charset="2"/>
              </a:rPr>
              <a:t>resulting in</a:t>
            </a:r>
            <a:r>
              <a:rPr lang="en-US" dirty="0"/>
              <a:t> </a:t>
            </a:r>
            <a:r>
              <a:rPr lang="en-US" dirty="0" err="1"/>
              <a:t>underexpression</a:t>
            </a:r>
            <a:endParaRPr lang="en-US" dirty="0"/>
          </a:p>
          <a:p>
            <a:pPr lvl="2"/>
            <a:r>
              <a:rPr lang="el-GR" dirty="0"/>
              <a:t>β</a:t>
            </a:r>
            <a:r>
              <a:rPr lang="en-US" baseline="30000" dirty="0"/>
              <a:t>+</a:t>
            </a:r>
            <a:r>
              <a:rPr lang="en-US" dirty="0"/>
              <a:t> (reduced globin synthesis) vs </a:t>
            </a:r>
            <a:r>
              <a:rPr lang="el-GR" dirty="0"/>
              <a:t>β</a:t>
            </a:r>
            <a:r>
              <a:rPr lang="en-US" baseline="30000" dirty="0"/>
              <a:t>0</a:t>
            </a:r>
            <a:r>
              <a:rPr lang="en-US" dirty="0"/>
              <a:t> (absent globin synthesis)</a:t>
            </a:r>
          </a:p>
          <a:p>
            <a:pPr lvl="2"/>
            <a:endParaRPr lang="en-US" sz="1600" dirty="0"/>
          </a:p>
          <a:p>
            <a:r>
              <a:rPr lang="en-US" dirty="0"/>
              <a:t>By severity (zygosity): thalassemia minor vs major</a:t>
            </a:r>
          </a:p>
          <a:p>
            <a:pPr lvl="1"/>
            <a:r>
              <a:rPr lang="en-US" dirty="0"/>
              <a:t>Minor: microcytosis +/– mild anemia (“</a:t>
            </a:r>
            <a:r>
              <a:rPr lang="en-US" dirty="0" err="1"/>
              <a:t>thalassemic</a:t>
            </a:r>
            <a:r>
              <a:rPr lang="en-US" dirty="0"/>
              <a:t> picture”)</a:t>
            </a:r>
          </a:p>
          <a:p>
            <a:pPr lvl="1"/>
            <a:r>
              <a:rPr lang="en-US" dirty="0" err="1"/>
              <a:t>Intermedia</a:t>
            </a:r>
            <a:r>
              <a:rPr lang="en-US" dirty="0"/>
              <a:t>: hemolytic anemia of variable severity</a:t>
            </a:r>
          </a:p>
          <a:p>
            <a:pPr lvl="1"/>
            <a:r>
              <a:rPr lang="en-US" dirty="0"/>
              <a:t>Major: transfusion-dependent hemolytic anemia</a:t>
            </a:r>
          </a:p>
          <a:p>
            <a:pPr lvl="2"/>
            <a:r>
              <a:rPr lang="en-US" dirty="0"/>
              <a:t>Complications of therapy: iron overload and alloimmunization</a:t>
            </a:r>
          </a:p>
          <a:p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123D6-A26F-48C4-B68B-48002B28495B}" type="slidenum">
              <a:rPr lang="en-US" smtClean="0"/>
              <a:pPr/>
              <a:t>7</a:t>
            </a:fld>
            <a:r>
              <a:rPr lang="en-US" dirty="0"/>
              <a:t> </a:t>
            </a:r>
            <a:r>
              <a:rPr lang="en-US" dirty="0">
                <a:sym typeface="Symbol"/>
              </a:rPr>
              <a:t>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7122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l-GR" dirty="0"/>
              <a:t>α</a:t>
            </a:r>
            <a:r>
              <a:rPr lang="en-US" dirty="0"/>
              <a:t> Thalassemia: genotypes and phenotyp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123D6-A26F-48C4-B68B-48002B28495B}" type="slidenum">
              <a:rPr lang="en-US" smtClean="0"/>
              <a:pPr/>
              <a:t>8</a:t>
            </a:fld>
            <a:r>
              <a:rPr lang="en-US"/>
              <a:t> </a:t>
            </a:r>
            <a:r>
              <a:rPr lang="en-US">
                <a:sym typeface="Symbol"/>
              </a:rPr>
              <a:t></a:t>
            </a:r>
            <a:endParaRPr lang="en-US" dirty="0"/>
          </a:p>
        </p:txBody>
      </p:sp>
      <p:pic>
        <p:nvPicPr>
          <p:cNvPr id="5" name="Picture 48" descr="C:\Documents and Settings\User\Desktop\Untitled-5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91" b="8817"/>
          <a:stretch>
            <a:fillRect/>
          </a:stretch>
        </p:blipFill>
        <p:spPr bwMode="auto">
          <a:xfrm>
            <a:off x="914400" y="2861730"/>
            <a:ext cx="7315200" cy="3234270"/>
          </a:xfrm>
          <a:prstGeom prst="rect">
            <a:avLst/>
          </a:prstGeom>
          <a:noFill/>
          <a:ln w="2540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5166775"/>
              </p:ext>
            </p:extLst>
          </p:nvPr>
        </p:nvGraphicFramePr>
        <p:xfrm>
          <a:off x="548640" y="1524000"/>
          <a:ext cx="8046720" cy="118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8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603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718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Syndrome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Genotype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Hematology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Hemoglobin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M</a:t>
                      </a: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inor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Loss of 2  genes</a:t>
                      </a:r>
                      <a:endParaRPr kumimoji="0" lang="en-US" sz="1600" b="0" i="0" u="none" strike="noStrike" cap="none" normalizeH="0" baseline="3000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itchFamily="34" charset="0"/>
                        <a:sym typeface="Symbol" pitchFamily="18" charset="2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Microcytosis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itchFamily="34" charset="0"/>
                        <a:sym typeface="Symbol" pitchFamily="18" charset="2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A</a:t>
                      </a: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; </a:t>
                      </a:r>
                      <a:r>
                        <a:rPr kumimoji="0" lang="en-US" sz="16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A2 Normal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In</a:t>
                      </a: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termedia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Loss of 3  gene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Microcytic hemolytic anemia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itchFamily="34" charset="0"/>
                        <a:sym typeface="Symbol" pitchFamily="18" charset="2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A</a:t>
                      </a: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; </a:t>
                      </a:r>
                      <a:r>
                        <a:rPr kumimoji="0" lang="en-US" sz="16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Hb H</a:t>
                      </a: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; </a:t>
                      </a:r>
                      <a:r>
                        <a:rPr kumimoji="0" lang="en-US" sz="16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A2 Normal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M</a:t>
                      </a: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ajor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Loss of 4  gene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Incompatible with survival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itchFamily="34" charset="0"/>
                        <a:sym typeface="Symbol" pitchFamily="18" charset="2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Hb </a:t>
                      </a:r>
                      <a:r>
                        <a:rPr kumimoji="0" lang="en-US" sz="1600" b="1" i="1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Barts</a:t>
                      </a:r>
                      <a:endParaRPr kumimoji="0" lang="en-US" sz="16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itchFamily="34" charset="0"/>
                        <a:sym typeface="Symbol" pitchFamily="18" charset="2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937236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l-GR" dirty="0"/>
              <a:t>β</a:t>
            </a:r>
            <a:r>
              <a:rPr lang="en-US" dirty="0"/>
              <a:t> Thalassemia: genotypes and phenotyp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123D6-A26F-48C4-B68B-48002B28495B}" type="slidenum">
              <a:rPr lang="en-US" smtClean="0"/>
              <a:pPr/>
              <a:t>9</a:t>
            </a:fld>
            <a:r>
              <a:rPr lang="en-US"/>
              <a:t> </a:t>
            </a:r>
            <a:r>
              <a:rPr lang="en-US">
                <a:sym typeface="Symbol"/>
              </a:rPr>
              <a:t>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1918476"/>
              </p:ext>
            </p:extLst>
          </p:nvPr>
        </p:nvGraphicFramePr>
        <p:xfrm>
          <a:off x="548640" y="1524000"/>
          <a:ext cx="8046720" cy="118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8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603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718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Syndrome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Genotype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Hematology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Hemoglobin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M</a:t>
                      </a: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inor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 / </a:t>
                      </a:r>
                      <a:r>
                        <a:rPr kumimoji="0" lang="en-US" sz="1600" b="0" i="0" u="none" strike="noStrike" cap="none" normalizeH="0" baseline="3000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+ </a:t>
                      </a: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;  / </a:t>
                      </a:r>
                      <a:r>
                        <a:rPr kumimoji="0" lang="en-US" sz="1600" b="0" i="0" u="none" strike="noStrike" cap="none" normalizeH="0" baseline="3000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Microcytosis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itchFamily="34" charset="0"/>
                        <a:sym typeface="Symbol" pitchFamily="18" charset="2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A</a:t>
                      </a: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; F ; </a:t>
                      </a:r>
                      <a:r>
                        <a:rPr kumimoji="0" lang="en-US" sz="16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A2 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In</a:t>
                      </a: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termedia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</a:t>
                      </a:r>
                      <a:r>
                        <a:rPr kumimoji="0" lang="en-US" sz="1600" b="0" i="0" u="none" strike="noStrike" cap="none" normalizeH="0" baseline="3000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+</a:t>
                      </a: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 / </a:t>
                      </a:r>
                      <a:r>
                        <a:rPr kumimoji="0" lang="en-US" sz="1600" b="0" i="0" u="none" strike="noStrike" cap="none" normalizeH="0" baseline="3000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+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Microcytic hemolytic anemia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itchFamily="34" charset="0"/>
                        <a:sym typeface="Symbol" pitchFamily="18" charset="2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A </a:t>
                      </a: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; F ; </a:t>
                      </a:r>
                      <a:r>
                        <a:rPr kumimoji="0" lang="en-US" sz="16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A2 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M</a:t>
                      </a: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ajor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</a:t>
                      </a:r>
                      <a:r>
                        <a:rPr kumimoji="0" lang="en-US" sz="1600" b="0" i="0" u="none" strike="noStrike" cap="none" normalizeH="0" baseline="3000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+</a:t>
                      </a: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 / </a:t>
                      </a:r>
                      <a:r>
                        <a:rPr kumimoji="0" lang="en-US" sz="1600" b="0" i="0" u="none" strike="noStrike" cap="none" normalizeH="0" baseline="3000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0 </a:t>
                      </a: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; </a:t>
                      </a:r>
                      <a:r>
                        <a:rPr kumimoji="0" lang="en-US" sz="1600" b="0" i="0" u="none" strike="noStrike" cap="none" normalizeH="0" baseline="3000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0</a:t>
                      </a: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 / </a:t>
                      </a:r>
                      <a:r>
                        <a:rPr kumimoji="0" lang="en-US" sz="1600" b="0" i="0" u="none" strike="noStrike" cap="none" normalizeH="0" baseline="3000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Microcytic hemolytic anemia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itchFamily="34" charset="0"/>
                        <a:sym typeface="Symbol" pitchFamily="18" charset="2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3366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A </a:t>
                      </a: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; F ; </a:t>
                      </a:r>
                      <a:r>
                        <a:rPr kumimoji="0" lang="en-US" sz="16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  <a:sym typeface="Symbol" pitchFamily="18" charset="2"/>
                        </a:rPr>
                        <a:t>A2 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8" name="Object 3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08137365"/>
              </p:ext>
            </p:extLst>
          </p:nvPr>
        </p:nvGraphicFramePr>
        <p:xfrm>
          <a:off x="2286000" y="3411606"/>
          <a:ext cx="4572000" cy="18429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Image" r:id="rId3" imgW="2858788" imgH="1152049" progId="Photoshop.Image.7">
                  <p:embed/>
                </p:oleObj>
              </mc:Choice>
              <mc:Fallback>
                <p:oleObj name="Image" r:id="rId3" imgW="2858788" imgH="1152049" progId="Photoshop.Image.7">
                  <p:embed/>
                  <p:pic>
                    <p:nvPicPr>
                      <p:cNvPr id="8" name="Object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86000" y="3411606"/>
                        <a:ext cx="4572000" cy="1842989"/>
                      </a:xfrm>
                      <a:prstGeom prst="rect">
                        <a:avLst/>
                      </a:prstGeom>
                      <a:noFill/>
                      <a:ln w="25400">
                        <a:solidFill>
                          <a:schemeClr val="bg1">
                            <a:lumMod val="65000"/>
                          </a:schemeClr>
                        </a:solidFill>
                        <a:miter lim="800000"/>
                        <a:headEnd/>
                        <a:tailEnd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Box 38"/>
          <p:cNvSpPr txBox="1">
            <a:spLocks noChangeArrowheads="1"/>
          </p:cNvSpPr>
          <p:nvPr/>
        </p:nvSpPr>
        <p:spPr bwMode="auto">
          <a:xfrm>
            <a:off x="2167143" y="5465802"/>
            <a:ext cx="4809715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rgbClr val="003366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sz="18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sym typeface="Symbol" pitchFamily="18" charset="2"/>
              </a:rPr>
              <a:t>- thalassemia major:</a:t>
            </a:r>
          </a:p>
          <a:p>
            <a:pPr algn="ctr" eaLnBrk="1" hangingPunct="1"/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Hemolytic anemia, splenomegaly, bone deformities</a:t>
            </a:r>
          </a:p>
        </p:txBody>
      </p:sp>
      <p:sp>
        <p:nvSpPr>
          <p:cNvPr id="14" name="Text Box 38"/>
          <p:cNvSpPr txBox="1">
            <a:spLocks noChangeArrowheads="1"/>
          </p:cNvSpPr>
          <p:nvPr/>
        </p:nvSpPr>
        <p:spPr bwMode="auto">
          <a:xfrm>
            <a:off x="1481026" y="2923401"/>
            <a:ext cx="618194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rgbClr val="003366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0" algn="ctr" eaLnBrk="1" fontAlgn="base" hangingPunct="1">
              <a:spcBef>
                <a:spcPct val="0"/>
              </a:spcBef>
              <a:spcAft>
                <a:spcPct val="25000"/>
              </a:spcAft>
              <a:buClr>
                <a:srgbClr val="003366"/>
              </a:buClr>
              <a:buSzPct val="90000"/>
            </a:pPr>
            <a:r>
              <a:rPr lang="en-US" sz="18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sym typeface="Symbol" pitchFamily="18" charset="2"/>
              </a:rPr>
              <a:t> Hb A2 (5-10%): 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Diagnostic hallmark of </a:t>
            </a:r>
            <a:r>
              <a:rPr lang="el-GR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rPr>
              <a:t>β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rPr>
              <a:t> thalassemia syndromes</a:t>
            </a:r>
            <a:endParaRPr lang="en-US" sz="18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53957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G0AIHbz0Sfki8XAf10J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8Qx5er0UOHYSgcxKjjH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bCkIPw3N0GXB7KiFKhsM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g1elAjC0.ryZEwRshyg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uFJqJlD0uqgDYosmlUM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gaLD_T8EGcB8cCJif59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d1HHG9S0eA3ZP4B9Wf3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wijTMeNEiURaly1TLs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39aqJTd0uUPoiXMvfGt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5mdfWsiEOqCXoR9.x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_hEfSPfQ06juxrm8SD6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WmOKKbK0iHQaE1DutY2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XusuisXkC86PIP7j3a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8L0n9tskSLdJCEDymZL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228</TotalTime>
  <Words>1810</Words>
  <Application>Microsoft Office PowerPoint</Application>
  <PresentationFormat>On-screen Show (4:3)</PresentationFormat>
  <Paragraphs>425</Paragraphs>
  <Slides>3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4" baseType="lpstr">
      <vt:lpstr>Arial</vt:lpstr>
      <vt:lpstr>Calibri</vt:lpstr>
      <vt:lpstr>Symbol</vt:lpstr>
      <vt:lpstr>Wingdings</vt:lpstr>
      <vt:lpstr>ヒラギノ角ゴ Pro W3</vt:lpstr>
      <vt:lpstr>Office Theme</vt:lpstr>
      <vt:lpstr>Image</vt:lpstr>
      <vt:lpstr>Laboratory Diagnosis of Hemoglobin Disorders</vt:lpstr>
      <vt:lpstr>Hemoglobin disorders (hemoglobinopathies)</vt:lpstr>
      <vt:lpstr>Hemoglobin disorders (hemoglobinopathies)</vt:lpstr>
      <vt:lpstr>Hemoglobin: gene and protein structure</vt:lpstr>
      <vt:lpstr>Thalassemias</vt:lpstr>
      <vt:lpstr>Thalassemia: pathobiology</vt:lpstr>
      <vt:lpstr>Thalassemia: classification</vt:lpstr>
      <vt:lpstr>α Thalassemia: genotypes and phenotypes</vt:lpstr>
      <vt:lpstr>β Thalassemia: genotypes and phenotypes</vt:lpstr>
      <vt:lpstr>Thalassemias: red blood cell morphology</vt:lpstr>
      <vt:lpstr>Thalassemias: hemoglobin analysis</vt:lpstr>
      <vt:lpstr>Hemoglobin variants</vt:lpstr>
      <vt:lpstr>Classification of hemoglobinopathies</vt:lpstr>
      <vt:lpstr>Common hemoglobin variants</vt:lpstr>
      <vt:lpstr>Hemoglobin S (sickle cell) disorders</vt:lpstr>
      <vt:lpstr>Pathophysiology of sickle cell disorders</vt:lpstr>
      <vt:lpstr>Therapeutic approaches for sickle cell disorders</vt:lpstr>
      <vt:lpstr>Role of laboratory testing</vt:lpstr>
      <vt:lpstr>Laboratory tests for hemoglobin disorders</vt:lpstr>
      <vt:lpstr>Indications for laboratory testing</vt:lpstr>
      <vt:lpstr>Hemoglobin S &amp; C: red blood cell morphology</vt:lpstr>
      <vt:lpstr>Cation-exchange HPLC</vt:lpstr>
      <vt:lpstr>Capillary electrophoresis</vt:lpstr>
      <vt:lpstr>Hemoglobin electrophoresis</vt:lpstr>
      <vt:lpstr>Hemoglobin electrophoresis</vt:lpstr>
      <vt:lpstr>Sickle solubility test</vt:lpstr>
      <vt:lpstr>Case reviews</vt:lpstr>
      <vt:lpstr>Laboratory review: major hemoglobin variants</vt:lpstr>
      <vt:lpstr>Laboratory review: major hemoglobin variants</vt:lpstr>
      <vt:lpstr>Laboratory review: major hemoglobin variants</vt:lpstr>
      <vt:lpstr>Laboratory review: other common variants</vt:lpstr>
      <vt:lpstr>Laboratory review: other common variants</vt:lpstr>
      <vt:lpstr>Laboratory review: compound disorders</vt:lpstr>
      <vt:lpstr>Laboratory review: hemoglobin A &amp; S</vt:lpstr>
      <vt:lpstr>Laboratory review: hemoglobin F quantification</vt:lpstr>
      <vt:lpstr>Laboratory review: neonatal testing</vt:lpstr>
      <vt:lpstr>Thank you</vt:lpstr>
    </vt:vector>
  </TitlesOfParts>
  <Company>Quest Diagnostic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Quest Diagnostics Incorporated</dc:creator>
  <cp:lastModifiedBy>Administrator</cp:lastModifiedBy>
  <cp:revision>113</cp:revision>
  <cp:lastPrinted>2015-12-14T14:29:09Z</cp:lastPrinted>
  <dcterms:created xsi:type="dcterms:W3CDTF">2015-06-29T20:31:00Z</dcterms:created>
  <dcterms:modified xsi:type="dcterms:W3CDTF">2019-03-18T17:43:41Z</dcterms:modified>
</cp:coreProperties>
</file>